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1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3" r:id="rId1"/>
    <p:sldMasterId id="2147484416" r:id="rId2"/>
    <p:sldMasterId id="2147484428" r:id="rId3"/>
    <p:sldMasterId id="2147484433" r:id="rId4"/>
    <p:sldMasterId id="2147484445" r:id="rId5"/>
    <p:sldMasterId id="2147484458" r:id="rId6"/>
    <p:sldMasterId id="2147484470" r:id="rId7"/>
    <p:sldMasterId id="2147484482" r:id="rId8"/>
    <p:sldMasterId id="2147484494" r:id="rId9"/>
    <p:sldMasterId id="2147484506" r:id="rId10"/>
    <p:sldMasterId id="2147484518" r:id="rId11"/>
  </p:sldMasterIdLst>
  <p:notesMasterIdLst>
    <p:notesMasterId r:id="rId23"/>
  </p:notesMasterIdLst>
  <p:handoutMasterIdLst>
    <p:handoutMasterId r:id="rId24"/>
  </p:handoutMasterIdLst>
  <p:sldIdLst>
    <p:sldId id="594" r:id="rId12"/>
    <p:sldId id="712" r:id="rId13"/>
    <p:sldId id="713" r:id="rId14"/>
    <p:sldId id="722" r:id="rId15"/>
    <p:sldId id="724" r:id="rId16"/>
    <p:sldId id="723" r:id="rId17"/>
    <p:sldId id="714" r:id="rId18"/>
    <p:sldId id="716" r:id="rId19"/>
    <p:sldId id="717" r:id="rId20"/>
    <p:sldId id="718" r:id="rId21"/>
    <p:sldId id="719" r:id="rId22"/>
  </p:sldIdLst>
  <p:sldSz cx="9144000" cy="6858000" type="letter"/>
  <p:notesSz cx="7023100" cy="9309100"/>
  <p:custDataLst>
    <p:tags r:id="rId25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1pPr>
    <a:lvl2pPr marL="4572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2pPr>
    <a:lvl3pPr marL="9144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3pPr>
    <a:lvl4pPr marL="13716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4pPr>
    <a:lvl5pPr marL="18288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32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F0F1"/>
    <a:srgbClr val="B9C3C7"/>
    <a:srgbClr val="3498DB"/>
    <a:srgbClr val="34495E"/>
    <a:srgbClr val="16A085"/>
    <a:srgbClr val="2C3E50"/>
    <a:srgbClr val="F8F8F8"/>
    <a:srgbClr val="2ECC71"/>
    <a:srgbClr val="2980B9"/>
    <a:srgbClr val="8E44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40" autoAdjust="0"/>
    <p:restoredTop sz="77590" autoAdjust="0"/>
  </p:normalViewPr>
  <p:slideViewPr>
    <p:cSldViewPr snapToGrid="0">
      <p:cViewPr>
        <p:scale>
          <a:sx n="74" d="100"/>
          <a:sy n="74" d="100"/>
        </p:scale>
        <p:origin x="-1954" y="-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9" d="100"/>
          <a:sy n="69" d="100"/>
        </p:scale>
        <p:origin x="-2100" y="-102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5"/>
            <a:ext cx="3053313" cy="4568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8133" tIns="44065" rIns="88133" bIns="44065" numCol="1" anchor="t" anchorCtr="0" compatLnSpc="1">
            <a:prstTxWarp prst="textNoShape">
              <a:avLst/>
            </a:prstTxWarp>
          </a:bodyPr>
          <a:lstStyle>
            <a:lvl1pPr algn="l" defTabSz="881798">
              <a:defRPr sz="1100">
                <a:ea typeface="ヒラギノ角ゴ Pro W3" pitchFamily="124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69793" y="5"/>
            <a:ext cx="3053312" cy="4568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8133" tIns="44065" rIns="88133" bIns="44065" numCol="1" anchor="t" anchorCtr="0" compatLnSpc="1">
            <a:prstTxWarp prst="textNoShape">
              <a:avLst/>
            </a:prstTxWarp>
          </a:bodyPr>
          <a:lstStyle>
            <a:lvl1pPr algn="r" defTabSz="881798">
              <a:defRPr sz="1100">
                <a:ea typeface="ヒラギノ角ゴ Pro W3" pitchFamily="124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8852304"/>
            <a:ext cx="3053313" cy="45679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8133" tIns="44065" rIns="88133" bIns="44065" numCol="1" anchor="b" anchorCtr="0" compatLnSpc="1">
            <a:prstTxWarp prst="textNoShape">
              <a:avLst/>
            </a:prstTxWarp>
          </a:bodyPr>
          <a:lstStyle>
            <a:lvl1pPr algn="l" defTabSz="881798">
              <a:defRPr sz="1100">
                <a:ea typeface="ヒラギノ角ゴ Pro W3" pitchFamily="124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17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69793" y="8852304"/>
            <a:ext cx="3053312" cy="45679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8133" tIns="44065" rIns="88133" bIns="44065" numCol="1" anchor="b" anchorCtr="0" compatLnSpc="1">
            <a:prstTxWarp prst="textNoShape">
              <a:avLst/>
            </a:prstTxWarp>
          </a:bodyPr>
          <a:lstStyle>
            <a:lvl1pPr algn="r" defTabSz="881798">
              <a:defRPr sz="1100">
                <a:ea typeface="ヒラギノ角ゴ Pro W3" pitchFamily="124" charset="-128"/>
                <a:cs typeface="+mn-cs"/>
              </a:defRPr>
            </a:lvl1pPr>
          </a:lstStyle>
          <a:p>
            <a:pPr>
              <a:defRPr/>
            </a:pPr>
            <a:fld id="{FD9B2705-22E7-4016-BFDF-DA14CE85C30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603120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2057" cy="46321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9802" tIns="44897" rIns="89802" bIns="44897" numCol="1" anchor="t" anchorCtr="0" compatLnSpc="1">
            <a:prstTxWarp prst="textNoShape">
              <a:avLst/>
            </a:prstTxWarp>
          </a:bodyPr>
          <a:lstStyle>
            <a:lvl1pPr algn="l" defTabSz="897656">
              <a:defRPr sz="1100">
                <a:ea typeface="ヒラギノ角ゴ Pro W3" pitchFamily="124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9436" y="0"/>
            <a:ext cx="3042057" cy="46321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9802" tIns="44897" rIns="89802" bIns="44897" numCol="1" anchor="t" anchorCtr="0" compatLnSpc="1">
            <a:prstTxWarp prst="textNoShape">
              <a:avLst/>
            </a:prstTxWarp>
          </a:bodyPr>
          <a:lstStyle>
            <a:lvl1pPr algn="r" defTabSz="897656">
              <a:defRPr sz="1100">
                <a:ea typeface="ヒラギノ角ゴ Pro W3" pitchFamily="124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5863" y="700088"/>
            <a:ext cx="4651375" cy="3489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7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9420" y="4420545"/>
            <a:ext cx="5624268" cy="41881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9802" tIns="44897" rIns="89802" bIns="448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97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45892"/>
            <a:ext cx="3042057" cy="46160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9802" tIns="44897" rIns="89802" bIns="44897" numCol="1" anchor="b" anchorCtr="0" compatLnSpc="1">
            <a:prstTxWarp prst="textNoShape">
              <a:avLst/>
            </a:prstTxWarp>
          </a:bodyPr>
          <a:lstStyle>
            <a:lvl1pPr algn="l" defTabSz="897656">
              <a:defRPr sz="1100">
                <a:ea typeface="ヒラギノ角ゴ Pro W3" pitchFamily="124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97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9436" y="8845892"/>
            <a:ext cx="3042057" cy="46160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9802" tIns="44897" rIns="89802" bIns="44897" numCol="1" anchor="b" anchorCtr="0" compatLnSpc="1">
            <a:prstTxWarp prst="textNoShape">
              <a:avLst/>
            </a:prstTxWarp>
          </a:bodyPr>
          <a:lstStyle>
            <a:lvl1pPr algn="r" defTabSz="897656">
              <a:defRPr sz="1100">
                <a:ea typeface="ヒラギノ角ゴ Pro W3" pitchFamily="124" charset="-128"/>
                <a:cs typeface="+mn-cs"/>
              </a:defRPr>
            </a:lvl1pPr>
          </a:lstStyle>
          <a:p>
            <a:pPr>
              <a:defRPr/>
            </a:pPr>
            <a:fld id="{FA3F28CE-D139-424D-ADA1-2D9E56EF4CB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674277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pitchFamily="124" charset="-128"/>
        <a:cs typeface="Geneva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pitchFamily="124" charset="-128"/>
        <a:cs typeface="Geneva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pitchFamily="124" charset="-128"/>
        <a:cs typeface="Geneva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pitchFamily="124" charset="-128"/>
        <a:cs typeface="Geneva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pitchFamily="124" charset="-128"/>
        <a:cs typeface="Geneva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ea typeface="ヒラギノ角ゴ Pro W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B5C156F-05F4-48B1-AAA4-76AAC68801D5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 descr="citi-r_2c-blu_pos_rg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2" name="Rectangle 84"/>
          <p:cNvSpPr>
            <a:spLocks noGrp="1" noChangeArrowheads="1"/>
          </p:cNvSpPr>
          <p:nvPr>
            <p:ph type="subTitle" idx="1"/>
          </p:nvPr>
        </p:nvSpPr>
        <p:spPr>
          <a:xfrm>
            <a:off x="141288" y="3429000"/>
            <a:ext cx="8861425" cy="990600"/>
          </a:xfrm>
        </p:spPr>
        <p:txBody>
          <a:bodyPr/>
          <a:lstStyle>
            <a:lvl1pPr marL="0" indent="0">
              <a:buFont typeface="Symbol" pitchFamily="18" charset="2"/>
              <a:buNone/>
              <a:defRPr sz="2000">
                <a:solidFill>
                  <a:schemeClr val="hlink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30723" name="Rectangle 83"/>
          <p:cNvSpPr>
            <a:spLocks noGrp="1" noChangeArrowheads="1"/>
          </p:cNvSpPr>
          <p:nvPr>
            <p:ph type="ctrTitle"/>
          </p:nvPr>
        </p:nvSpPr>
        <p:spPr>
          <a:xfrm>
            <a:off x="141288" y="2133600"/>
            <a:ext cx="8861425" cy="990600"/>
          </a:xfrm>
          <a:ln w="9525">
            <a:noFill/>
          </a:ln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24614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926565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579533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63938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190381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560896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8150" y="60325"/>
            <a:ext cx="2214563" cy="61118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1288" y="60325"/>
            <a:ext cx="6494462" cy="61118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65645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 descr="citi-r_2c-blu_pos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2" name="Rectangle 84"/>
          <p:cNvSpPr>
            <a:spLocks noGrp="1" noChangeArrowheads="1"/>
          </p:cNvSpPr>
          <p:nvPr>
            <p:ph type="subTitle" idx="1"/>
          </p:nvPr>
        </p:nvSpPr>
        <p:spPr>
          <a:xfrm>
            <a:off x="141288" y="3429000"/>
            <a:ext cx="8861425" cy="990600"/>
          </a:xfrm>
        </p:spPr>
        <p:txBody>
          <a:bodyPr/>
          <a:lstStyle>
            <a:lvl1pPr marL="0" indent="0">
              <a:buFont typeface="Symbol" pitchFamily="18" charset="2"/>
              <a:buNone/>
              <a:defRPr sz="2000">
                <a:solidFill>
                  <a:schemeClr val="hlink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30723" name="Rectangle 83"/>
          <p:cNvSpPr>
            <a:spLocks noGrp="1" noChangeArrowheads="1"/>
          </p:cNvSpPr>
          <p:nvPr>
            <p:ph type="ctrTitle"/>
          </p:nvPr>
        </p:nvSpPr>
        <p:spPr>
          <a:xfrm>
            <a:off x="141288" y="2133600"/>
            <a:ext cx="8861425" cy="990600"/>
          </a:xfrm>
          <a:ln w="9525">
            <a:noFill/>
          </a:ln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402281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824768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704410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1288" y="1295400"/>
            <a:ext cx="435451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354513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77600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70480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8150" y="60325"/>
            <a:ext cx="2214563" cy="61118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1288" y="60325"/>
            <a:ext cx="6494462" cy="61118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9351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6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141288" y="6096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solidFill>
                <a:srgbClr val="53565A"/>
              </a:solidFill>
              <a:latin typeface="Arial"/>
            </a:endParaRPr>
          </a:p>
        </p:txBody>
      </p:sp>
      <p:pic>
        <p:nvPicPr>
          <p:cNvPr id="5" name="Picture 19" descr="citi-r_2c-blu_pos_rgb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6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334F0E2-D9BC-4F47-B65E-516E401AD01B}" type="slidenum">
              <a:rPr lang="en-US">
                <a:solidFill>
                  <a:srgbClr val="53565A">
                    <a:tint val="75000"/>
                  </a:srgbClr>
                </a:solidFill>
                <a:latin typeface="Arial"/>
              </a:rPr>
              <a:pPr>
                <a:defRPr/>
              </a:pPr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6460725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574076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6714619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351955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978390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8150" y="60325"/>
            <a:ext cx="2214563" cy="61118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1288" y="60325"/>
            <a:ext cx="6494462" cy="61118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50398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 descr="citi-r_2c-blu_pos_rg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2" name="Rectangle 84"/>
          <p:cNvSpPr>
            <a:spLocks noGrp="1" noChangeArrowheads="1"/>
          </p:cNvSpPr>
          <p:nvPr>
            <p:ph type="subTitle" idx="1"/>
          </p:nvPr>
        </p:nvSpPr>
        <p:spPr>
          <a:xfrm>
            <a:off x="141288" y="3429000"/>
            <a:ext cx="8861425" cy="990600"/>
          </a:xfrm>
        </p:spPr>
        <p:txBody>
          <a:bodyPr/>
          <a:lstStyle>
            <a:lvl1pPr marL="0" indent="0">
              <a:buFont typeface="Symbol" pitchFamily="18" charset="2"/>
              <a:buNone/>
              <a:defRPr sz="2000">
                <a:solidFill>
                  <a:schemeClr val="hlink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30723" name="Rectangle 83"/>
          <p:cNvSpPr>
            <a:spLocks noGrp="1" noChangeArrowheads="1"/>
          </p:cNvSpPr>
          <p:nvPr>
            <p:ph type="ctrTitle"/>
          </p:nvPr>
        </p:nvSpPr>
        <p:spPr>
          <a:xfrm>
            <a:off x="141288" y="2133600"/>
            <a:ext cx="8861425" cy="990600"/>
          </a:xfrm>
          <a:ln w="9525">
            <a:noFill/>
          </a:ln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34498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12923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60572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1288" y="1295400"/>
            <a:ext cx="435451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354513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62343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23721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141288" y="6096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solidFill>
                <a:srgbClr val="53565A"/>
              </a:solidFill>
            </a:endParaRPr>
          </a:p>
        </p:txBody>
      </p:sp>
      <p:pic>
        <p:nvPicPr>
          <p:cNvPr id="5" name="Picture 19" descr="citi-r_2c-blu_pos_rgb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6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0CBB8FF-50A4-4522-95E1-2D007BA22EEF}" type="slidenum">
              <a:rPr lang="en-US">
                <a:solidFill>
                  <a:srgbClr val="53565A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6336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94871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66760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64880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80205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08070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8150" y="60325"/>
            <a:ext cx="2214563" cy="61118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1288" y="60325"/>
            <a:ext cx="6494462" cy="61118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67429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 descr="citi-r_2c-blu_pos_rg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0" name="Rectangle 84"/>
          <p:cNvSpPr>
            <a:spLocks noGrp="1" noChangeArrowheads="1"/>
          </p:cNvSpPr>
          <p:nvPr>
            <p:ph type="subTitle" idx="1"/>
          </p:nvPr>
        </p:nvSpPr>
        <p:spPr>
          <a:xfrm>
            <a:off x="141288" y="3429000"/>
            <a:ext cx="8861425" cy="990600"/>
          </a:xfrm>
        </p:spPr>
        <p:txBody>
          <a:bodyPr/>
          <a:lstStyle>
            <a:lvl1pPr marL="0" indent="0">
              <a:buFont typeface="Symbol" pitchFamily="18" charset="2"/>
              <a:buNone/>
              <a:defRPr sz="2000"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41288" y="2133600"/>
            <a:ext cx="8861425" cy="990600"/>
          </a:xfr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320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9774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1289" y="1295400"/>
            <a:ext cx="8850312" cy="487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45498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1288" y="1295400"/>
            <a:ext cx="4278312" cy="48768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4399" y="1295400"/>
            <a:ext cx="4267201" cy="48768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95110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22621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 descr="citi-r_2c-blu_pos_rg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2" name="Rectangle 84"/>
          <p:cNvSpPr>
            <a:spLocks noGrp="1" noChangeArrowheads="1"/>
          </p:cNvSpPr>
          <p:nvPr>
            <p:ph type="subTitle" idx="1"/>
          </p:nvPr>
        </p:nvSpPr>
        <p:spPr>
          <a:xfrm>
            <a:off x="141288" y="3429000"/>
            <a:ext cx="8861425" cy="990600"/>
          </a:xfrm>
        </p:spPr>
        <p:txBody>
          <a:bodyPr/>
          <a:lstStyle>
            <a:lvl1pPr marL="0" indent="0">
              <a:buFont typeface="Symbol" pitchFamily="18" charset="2"/>
              <a:buNone/>
              <a:defRPr sz="2000">
                <a:solidFill>
                  <a:schemeClr val="hlink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30723" name="Rectangle 83"/>
          <p:cNvSpPr>
            <a:spLocks noGrp="1" noChangeArrowheads="1"/>
          </p:cNvSpPr>
          <p:nvPr>
            <p:ph type="ctrTitle"/>
          </p:nvPr>
        </p:nvSpPr>
        <p:spPr>
          <a:xfrm>
            <a:off x="141288" y="2133600"/>
            <a:ext cx="8861425" cy="990600"/>
          </a:xfrm>
          <a:ln w="9525">
            <a:noFill/>
          </a:ln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07857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55274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72670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2483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1288" y="1295400"/>
            <a:ext cx="435451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354513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38847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89724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141288" y="6096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solidFill>
                <a:srgbClr val="53565A"/>
              </a:solidFill>
            </a:endParaRPr>
          </a:p>
        </p:txBody>
      </p:sp>
      <p:pic>
        <p:nvPicPr>
          <p:cNvPr id="5" name="Picture 19" descr="citi-r_2c-blu_pos_rgb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6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334F0E2-D9BC-4F47-B65E-516E401AD01B}" type="slidenum">
              <a:rPr lang="en-US">
                <a:solidFill>
                  <a:srgbClr val="53565A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24737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90927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8002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19891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11606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8150" y="60325"/>
            <a:ext cx="2214563" cy="61118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1288" y="60325"/>
            <a:ext cx="6494462" cy="61118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79698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1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141288" y="64008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>
              <a:solidFill>
                <a:srgbClr val="53565A"/>
              </a:solidFill>
            </a:endParaRPr>
          </a:p>
        </p:txBody>
      </p:sp>
      <p:sp>
        <p:nvSpPr>
          <p:cNvPr id="6" name="Line 14"/>
          <p:cNvSpPr>
            <a:spLocks noChangeShapeType="1"/>
          </p:cNvSpPr>
          <p:nvPr/>
        </p:nvSpPr>
        <p:spPr bwMode="auto">
          <a:xfrm>
            <a:off x="141288" y="4572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>
              <a:solidFill>
                <a:srgbClr val="53565A"/>
              </a:solidFill>
            </a:endParaRPr>
          </a:p>
        </p:txBody>
      </p:sp>
      <p:pic>
        <p:nvPicPr>
          <p:cNvPr id="7" name="Picture 19" descr="citi-r_2c-blu_pos_rgb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9" descr="citi-r_2c-blu_pos_rgb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2" name="Rectangle 84"/>
          <p:cNvSpPr>
            <a:spLocks noGrp="1" noChangeArrowheads="1"/>
          </p:cNvSpPr>
          <p:nvPr>
            <p:ph type="subTitle" idx="1"/>
          </p:nvPr>
        </p:nvSpPr>
        <p:spPr>
          <a:xfrm>
            <a:off x="141288" y="3429000"/>
            <a:ext cx="8861425" cy="990600"/>
          </a:xfrm>
        </p:spPr>
        <p:txBody>
          <a:bodyPr/>
          <a:lstStyle>
            <a:lvl1pPr marL="0" indent="0">
              <a:buFont typeface="Symbol" pitchFamily="18" charset="2"/>
              <a:buNone/>
              <a:defRPr sz="2000">
                <a:solidFill>
                  <a:schemeClr val="hlink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30723" name="Rectangle 83"/>
          <p:cNvSpPr>
            <a:spLocks noGrp="1" noChangeArrowheads="1"/>
          </p:cNvSpPr>
          <p:nvPr>
            <p:ph type="ctrTitle"/>
          </p:nvPr>
        </p:nvSpPr>
        <p:spPr>
          <a:xfrm>
            <a:off x="141288" y="2133600"/>
            <a:ext cx="8861425" cy="990600"/>
          </a:xfrm>
          <a:ln w="9525">
            <a:noFill/>
          </a:ln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14394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3763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1288" y="1295400"/>
            <a:ext cx="435451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354513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66643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70375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1288" y="1295400"/>
            <a:ext cx="435451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354513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966791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5265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90624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64053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199686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62170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46051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8150" y="60325"/>
            <a:ext cx="2214563" cy="61118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1288" y="60325"/>
            <a:ext cx="6494462" cy="61118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053133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10268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72930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 descr="citi-r_2c-blu_pos_rg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2" name="Rectangle 84"/>
          <p:cNvSpPr>
            <a:spLocks noGrp="1" noChangeArrowheads="1"/>
          </p:cNvSpPr>
          <p:nvPr>
            <p:ph type="subTitle" idx="1"/>
          </p:nvPr>
        </p:nvSpPr>
        <p:spPr>
          <a:xfrm>
            <a:off x="141288" y="3429000"/>
            <a:ext cx="8861425" cy="990600"/>
          </a:xfrm>
        </p:spPr>
        <p:txBody>
          <a:bodyPr/>
          <a:lstStyle>
            <a:lvl1pPr marL="0" indent="0">
              <a:buFont typeface="Symbol" pitchFamily="18" charset="2"/>
              <a:buNone/>
              <a:defRPr sz="2000">
                <a:solidFill>
                  <a:schemeClr val="hlink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30723" name="Rectangle 83"/>
          <p:cNvSpPr>
            <a:spLocks noGrp="1" noChangeArrowheads="1"/>
          </p:cNvSpPr>
          <p:nvPr>
            <p:ph type="ctrTitle"/>
          </p:nvPr>
        </p:nvSpPr>
        <p:spPr>
          <a:xfrm>
            <a:off x="141288" y="2133600"/>
            <a:ext cx="8861425" cy="990600"/>
          </a:xfrm>
          <a:ln w="9525">
            <a:noFill/>
          </a:ln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3314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8557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279914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1288" y="1295400"/>
            <a:ext cx="435451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354513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756271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845944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2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141288" y="6096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solidFill>
                <a:srgbClr val="53565A"/>
              </a:solidFill>
            </a:endParaRPr>
          </a:p>
        </p:txBody>
      </p:sp>
      <p:pic>
        <p:nvPicPr>
          <p:cNvPr id="5" name="Picture 19" descr="citi-r_2c-blu_pos_rgb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6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334F0E2-D9BC-4F47-B65E-516E401AD01B}" type="slidenum">
              <a:rPr lang="en-US">
                <a:solidFill>
                  <a:srgbClr val="53565A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92559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219682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14639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794359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64568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141288" y="6096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pic>
        <p:nvPicPr>
          <p:cNvPr id="5" name="Picture 19" descr="citi-r_2c-blu_pos_rgb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6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334F0E2-D9BC-4F47-B65E-516E401AD01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119879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8150" y="60325"/>
            <a:ext cx="2214563" cy="61118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1288" y="60325"/>
            <a:ext cx="6494462" cy="61118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39315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 descr="citi-r_2c-blu_pos_rg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2" name="Rectangle 84"/>
          <p:cNvSpPr>
            <a:spLocks noGrp="1" noChangeArrowheads="1"/>
          </p:cNvSpPr>
          <p:nvPr>
            <p:ph type="subTitle" idx="1"/>
          </p:nvPr>
        </p:nvSpPr>
        <p:spPr>
          <a:xfrm>
            <a:off x="141288" y="3429000"/>
            <a:ext cx="8861425" cy="990600"/>
          </a:xfrm>
        </p:spPr>
        <p:txBody>
          <a:bodyPr/>
          <a:lstStyle>
            <a:lvl1pPr marL="0" indent="0">
              <a:buFont typeface="Symbol" pitchFamily="18" charset="2"/>
              <a:buNone/>
              <a:defRPr sz="2000">
                <a:solidFill>
                  <a:schemeClr val="hlink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30723" name="Rectangle 83"/>
          <p:cNvSpPr>
            <a:spLocks noGrp="1" noChangeArrowheads="1"/>
          </p:cNvSpPr>
          <p:nvPr>
            <p:ph type="ctrTitle"/>
          </p:nvPr>
        </p:nvSpPr>
        <p:spPr>
          <a:xfrm>
            <a:off x="141288" y="2133600"/>
            <a:ext cx="8861425" cy="990600"/>
          </a:xfrm>
          <a:ln w="9525">
            <a:noFill/>
          </a:ln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119260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858946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736385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1288" y="1295400"/>
            <a:ext cx="435451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354513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849568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89995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4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141288" y="6096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solidFill>
                <a:srgbClr val="53565A"/>
              </a:solidFill>
            </a:endParaRPr>
          </a:p>
        </p:txBody>
      </p:sp>
      <p:pic>
        <p:nvPicPr>
          <p:cNvPr id="5" name="Picture 19" descr="citi-r_2c-blu_pos_rgb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6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334F0E2-D9BC-4F47-B65E-516E401AD01B}" type="slidenum">
              <a:rPr lang="en-US">
                <a:solidFill>
                  <a:srgbClr val="53565A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26887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689247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241860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67995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04062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3724032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088203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8150" y="60325"/>
            <a:ext cx="2214563" cy="61118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1288" y="60325"/>
            <a:ext cx="6494462" cy="61118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396155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 descr="citi-r_2c-blu_pos_rg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2" name="Rectangle 84"/>
          <p:cNvSpPr>
            <a:spLocks noGrp="1" noChangeArrowheads="1"/>
          </p:cNvSpPr>
          <p:nvPr>
            <p:ph type="subTitle" idx="1"/>
          </p:nvPr>
        </p:nvSpPr>
        <p:spPr>
          <a:xfrm>
            <a:off x="141288" y="3429000"/>
            <a:ext cx="8861425" cy="990600"/>
          </a:xfrm>
        </p:spPr>
        <p:txBody>
          <a:bodyPr/>
          <a:lstStyle>
            <a:lvl1pPr marL="0" indent="0">
              <a:buFont typeface="Symbol" pitchFamily="18" charset="2"/>
              <a:buNone/>
              <a:defRPr sz="2000">
                <a:solidFill>
                  <a:schemeClr val="hlink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30723" name="Rectangle 83"/>
          <p:cNvSpPr>
            <a:spLocks noGrp="1" noChangeArrowheads="1"/>
          </p:cNvSpPr>
          <p:nvPr>
            <p:ph type="ctrTitle"/>
          </p:nvPr>
        </p:nvSpPr>
        <p:spPr>
          <a:xfrm>
            <a:off x="141288" y="2133600"/>
            <a:ext cx="8861425" cy="990600"/>
          </a:xfrm>
          <a:ln w="9525">
            <a:noFill/>
          </a:ln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294702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319895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652898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1288" y="1295400"/>
            <a:ext cx="435451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354513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895327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197361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4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141288" y="6096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solidFill>
                <a:srgbClr val="53565A"/>
              </a:solidFill>
            </a:endParaRPr>
          </a:p>
        </p:txBody>
      </p:sp>
      <p:pic>
        <p:nvPicPr>
          <p:cNvPr id="5" name="Picture 19" descr="citi-r_2c-blu_pos_rgb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6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334F0E2-D9BC-4F47-B65E-516E401AD01B}" type="slidenum">
              <a:rPr lang="en-US">
                <a:solidFill>
                  <a:srgbClr val="53565A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79312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039135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63857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333867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659116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641196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8150" y="60325"/>
            <a:ext cx="2214563" cy="61118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1288" y="60325"/>
            <a:ext cx="6494462" cy="61118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305615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 descr="citi-r_2c-blu_pos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2" name="Rectangle 84"/>
          <p:cNvSpPr>
            <a:spLocks noGrp="1" noChangeArrowheads="1"/>
          </p:cNvSpPr>
          <p:nvPr>
            <p:ph type="subTitle" idx="1"/>
          </p:nvPr>
        </p:nvSpPr>
        <p:spPr>
          <a:xfrm>
            <a:off x="141288" y="3429000"/>
            <a:ext cx="8861425" cy="990600"/>
          </a:xfrm>
        </p:spPr>
        <p:txBody>
          <a:bodyPr/>
          <a:lstStyle>
            <a:lvl1pPr marL="0" indent="0">
              <a:buFont typeface="Symbol" pitchFamily="18" charset="2"/>
              <a:buNone/>
              <a:defRPr sz="2000">
                <a:solidFill>
                  <a:schemeClr val="hlink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30723" name="Rectangle 83"/>
          <p:cNvSpPr>
            <a:spLocks noGrp="1" noChangeArrowheads="1"/>
          </p:cNvSpPr>
          <p:nvPr>
            <p:ph type="ctrTitle"/>
          </p:nvPr>
        </p:nvSpPr>
        <p:spPr>
          <a:xfrm>
            <a:off x="141288" y="2133600"/>
            <a:ext cx="8861425" cy="990600"/>
          </a:xfrm>
          <a:ln w="9525">
            <a:noFill/>
          </a:ln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954163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812180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53854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1288" y="1295400"/>
            <a:ext cx="435451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354513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940388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787213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5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141288" y="6096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solidFill>
                <a:srgbClr val="53565A"/>
              </a:solidFill>
              <a:latin typeface="Arial"/>
            </a:endParaRPr>
          </a:p>
        </p:txBody>
      </p:sp>
      <p:pic>
        <p:nvPicPr>
          <p:cNvPr id="5" name="Picture 19" descr="citi-r_2c-blu_pos_rgb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6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334F0E2-D9BC-4F47-B65E-516E401AD01B}" type="slidenum">
              <a:rPr lang="en-US">
                <a:solidFill>
                  <a:srgbClr val="53565A">
                    <a:tint val="75000"/>
                  </a:srgbClr>
                </a:solidFill>
                <a:latin typeface="Arial"/>
              </a:rPr>
              <a:pPr>
                <a:defRPr/>
              </a:pPr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429702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4244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821303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268292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940333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152691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8150" y="60325"/>
            <a:ext cx="2214563" cy="61118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1288" y="60325"/>
            <a:ext cx="6494462" cy="61118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661979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 descr="citi-r_2c-blu_pos_rg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2" name="Rectangle 84"/>
          <p:cNvSpPr>
            <a:spLocks noGrp="1" noChangeArrowheads="1"/>
          </p:cNvSpPr>
          <p:nvPr>
            <p:ph type="subTitle" idx="1"/>
          </p:nvPr>
        </p:nvSpPr>
        <p:spPr>
          <a:xfrm>
            <a:off x="141288" y="3429000"/>
            <a:ext cx="8861425" cy="990600"/>
          </a:xfrm>
        </p:spPr>
        <p:txBody>
          <a:bodyPr/>
          <a:lstStyle>
            <a:lvl1pPr marL="0" indent="0">
              <a:buFont typeface="Symbol" pitchFamily="18" charset="2"/>
              <a:buNone/>
              <a:defRPr sz="2000">
                <a:solidFill>
                  <a:schemeClr val="hlink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30723" name="Rectangle 83"/>
          <p:cNvSpPr>
            <a:spLocks noGrp="1" noChangeArrowheads="1"/>
          </p:cNvSpPr>
          <p:nvPr>
            <p:ph type="ctrTitle"/>
          </p:nvPr>
        </p:nvSpPr>
        <p:spPr>
          <a:xfrm>
            <a:off x="141288" y="2133600"/>
            <a:ext cx="8861425" cy="990600"/>
          </a:xfrm>
          <a:ln w="9525">
            <a:noFill/>
          </a:ln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833292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07159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744522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1288" y="1295400"/>
            <a:ext cx="435451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354513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18533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884626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141288" y="6096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solidFill>
                <a:srgbClr val="53565A"/>
              </a:solidFill>
            </a:endParaRPr>
          </a:p>
        </p:txBody>
      </p:sp>
      <p:pic>
        <p:nvPicPr>
          <p:cNvPr id="5" name="Picture 19" descr="citi-r_2c-blu_pos_rgb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6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334F0E2-D9BC-4F47-B65E-516E401AD01B}" type="slidenum">
              <a:rPr lang="en-US">
                <a:solidFill>
                  <a:srgbClr val="53565A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5379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10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9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oleObject" Target="../embeddings/oleObject18.bin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tags" Target="../tags/tag19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vmlDrawing" Target="../drawings/vmlDrawing20.v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theme" Target="../theme/theme11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10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5" Type="http://schemas.openxmlformats.org/officeDocument/2006/relationships/oleObject" Target="../embeddings/oleObject20.bin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tags" Target="../tags/tag2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.wmf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vmlDrawing" Target="../drawings/vmlDrawing6.v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ags" Target="../tags/tag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heme" Target="../theme/theme5.xml"/><Relationship Id="rId18" Type="http://schemas.openxmlformats.org/officeDocument/2006/relationships/image" Target="../media/image2.wmf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9.xml"/><Relationship Id="rId16" Type="http://schemas.openxmlformats.org/officeDocument/2006/relationships/oleObject" Target="../embeddings/oleObject8.bin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vmlDrawing" Target="../drawings/vmlDrawing8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vmlDrawing" Target="../drawings/vmlDrawing10.v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6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5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oleObject" Target="../embeddings/oleObject10.bin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tags" Target="../tags/tag1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vmlDrawing" Target="../drawings/vmlDrawing12.v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7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6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oleObject" Target="../embeddings/oleObject12.bin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ags" Target="../tags/tag1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vmlDrawing" Target="../drawings/vmlDrawing14.v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8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7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oleObject" Target="../embeddings/oleObject14.bin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tags" Target="../tags/tag1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vmlDrawing" Target="../drawings/vmlDrawing16.v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9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oleObject" Target="../embeddings/oleObject16.bin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618188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2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Line 14"/>
          <p:cNvSpPr>
            <a:spLocks noChangeShapeType="1"/>
          </p:cNvSpPr>
          <p:nvPr/>
        </p:nvSpPr>
        <p:spPr bwMode="auto">
          <a:xfrm>
            <a:off x="141288" y="6096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029" name="Rectangle 83"/>
          <p:cNvSpPr>
            <a:spLocks noGrp="1" noChangeArrowheads="1"/>
          </p:cNvSpPr>
          <p:nvPr>
            <p:ph type="title"/>
          </p:nvPr>
        </p:nvSpPr>
        <p:spPr bwMode="gray">
          <a:xfrm>
            <a:off x="141288" y="155575"/>
            <a:ext cx="8859837" cy="3778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30" name="Picture 19" descr="citi-r_2c-blu_pos_rgb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14" r:id="rId1"/>
    <p:sldLayoutId id="2147484405" r:id="rId2"/>
    <p:sldLayoutId id="2147484406" r:id="rId3"/>
    <p:sldLayoutId id="2147484407" r:id="rId4"/>
    <p:sldLayoutId id="2147484408" r:id="rId5"/>
    <p:sldLayoutId id="2147484415" r:id="rId6"/>
    <p:sldLayoutId id="2147484409" r:id="rId7"/>
    <p:sldLayoutId id="2147484410" r:id="rId8"/>
    <p:sldLayoutId id="2147484411" r:id="rId9"/>
    <p:sldLayoutId id="2147484412" r:id="rId10"/>
    <p:sldLayoutId id="2147484413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9pPr>
    </p:titleStyle>
    <p:bodyStyle>
      <a:lvl1pPr marL="171450" indent="-171450" algn="l" defTabSz="1838325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1pPr>
      <a:lvl2pPr marL="344488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2pPr>
      <a:lvl3pPr marL="517525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3pPr>
      <a:lvl4pPr marL="685800" indent="-166688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4pPr>
      <a:lvl5pPr marL="8524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5pPr>
      <a:lvl6pPr marL="13096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6pPr>
      <a:lvl7pPr marL="17668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7pPr>
      <a:lvl8pPr marL="22240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8pPr>
      <a:lvl9pPr marL="26812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520792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6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Line 14"/>
          <p:cNvSpPr>
            <a:spLocks noChangeShapeType="1"/>
          </p:cNvSpPr>
          <p:nvPr/>
        </p:nvSpPr>
        <p:spPr bwMode="auto">
          <a:xfrm>
            <a:off x="141288" y="6096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029" name="Rectangle 83"/>
          <p:cNvSpPr>
            <a:spLocks noGrp="1" noChangeArrowheads="1"/>
          </p:cNvSpPr>
          <p:nvPr>
            <p:ph type="title"/>
          </p:nvPr>
        </p:nvSpPr>
        <p:spPr bwMode="gray">
          <a:xfrm>
            <a:off x="141288" y="155575"/>
            <a:ext cx="8859837" cy="3778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30" name="Picture 19" descr="citi-r_2c-blu_pos_rgb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25559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7" r:id="rId1"/>
    <p:sldLayoutId id="2147484508" r:id="rId2"/>
    <p:sldLayoutId id="2147484509" r:id="rId3"/>
    <p:sldLayoutId id="2147484510" r:id="rId4"/>
    <p:sldLayoutId id="2147484511" r:id="rId5"/>
    <p:sldLayoutId id="2147484512" r:id="rId6"/>
    <p:sldLayoutId id="2147484513" r:id="rId7"/>
    <p:sldLayoutId id="2147484514" r:id="rId8"/>
    <p:sldLayoutId id="2147484515" r:id="rId9"/>
    <p:sldLayoutId id="2147484516" r:id="rId10"/>
    <p:sldLayoutId id="2147484517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9pPr>
    </p:titleStyle>
    <p:bodyStyle>
      <a:lvl1pPr marL="171450" indent="-171450" algn="l" defTabSz="1838325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1pPr>
      <a:lvl2pPr marL="344488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2pPr>
      <a:lvl3pPr marL="517525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3pPr>
      <a:lvl4pPr marL="685800" indent="-166688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4pPr>
      <a:lvl5pPr marL="8524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5pPr>
      <a:lvl6pPr marL="13096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6pPr>
      <a:lvl7pPr marL="17668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7pPr>
      <a:lvl8pPr marL="22240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8pPr>
      <a:lvl9pPr marL="26812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571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61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Line 14"/>
          <p:cNvSpPr>
            <a:spLocks noChangeShapeType="1"/>
          </p:cNvSpPr>
          <p:nvPr/>
        </p:nvSpPr>
        <p:spPr bwMode="auto">
          <a:xfrm>
            <a:off x="141288" y="6096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solidFill>
                <a:srgbClr val="53565A"/>
              </a:solidFill>
              <a:latin typeface="Arial"/>
            </a:endParaRPr>
          </a:p>
        </p:txBody>
      </p:sp>
      <p:sp>
        <p:nvSpPr>
          <p:cNvPr id="1029" name="Rectangle 83"/>
          <p:cNvSpPr>
            <a:spLocks noGrp="1" noChangeArrowheads="1"/>
          </p:cNvSpPr>
          <p:nvPr>
            <p:ph type="title"/>
          </p:nvPr>
        </p:nvSpPr>
        <p:spPr bwMode="gray">
          <a:xfrm>
            <a:off x="141288" y="155575"/>
            <a:ext cx="8859837" cy="3778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30" name="Picture 19" descr="citi-r_2c-blu_pos_rgb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8760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9" r:id="rId1"/>
    <p:sldLayoutId id="2147484520" r:id="rId2"/>
    <p:sldLayoutId id="2147484521" r:id="rId3"/>
    <p:sldLayoutId id="2147484522" r:id="rId4"/>
    <p:sldLayoutId id="2147484523" r:id="rId5"/>
    <p:sldLayoutId id="2147484524" r:id="rId6"/>
    <p:sldLayoutId id="2147484525" r:id="rId7"/>
    <p:sldLayoutId id="2147484526" r:id="rId8"/>
    <p:sldLayoutId id="2147484527" r:id="rId9"/>
    <p:sldLayoutId id="2147484528" r:id="rId10"/>
    <p:sldLayoutId id="2147484529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9pPr>
    </p:titleStyle>
    <p:bodyStyle>
      <a:lvl1pPr marL="171450" indent="-171450" algn="l" defTabSz="1838325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1pPr>
      <a:lvl2pPr marL="344488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2pPr>
      <a:lvl3pPr marL="517525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3pPr>
      <a:lvl4pPr marL="685800" indent="-166688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4pPr>
      <a:lvl5pPr marL="8524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5pPr>
      <a:lvl6pPr marL="13096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6pPr>
      <a:lvl7pPr marL="17668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7pPr>
      <a:lvl8pPr marL="22240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8pPr>
      <a:lvl9pPr marL="26812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014912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9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Line 14"/>
          <p:cNvSpPr>
            <a:spLocks noChangeShapeType="1"/>
          </p:cNvSpPr>
          <p:nvPr/>
        </p:nvSpPr>
        <p:spPr bwMode="auto">
          <a:xfrm>
            <a:off x="141288" y="6096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029" name="Rectangle 83"/>
          <p:cNvSpPr>
            <a:spLocks noGrp="1" noChangeArrowheads="1"/>
          </p:cNvSpPr>
          <p:nvPr>
            <p:ph type="title"/>
          </p:nvPr>
        </p:nvSpPr>
        <p:spPr bwMode="gray">
          <a:xfrm>
            <a:off x="141288" y="155575"/>
            <a:ext cx="8859837" cy="3778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30" name="Picture 19" descr="citi-r_2c-blu_pos_rgb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0367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7" r:id="rId1"/>
    <p:sldLayoutId id="2147484418" r:id="rId2"/>
    <p:sldLayoutId id="2147484419" r:id="rId3"/>
    <p:sldLayoutId id="2147484420" r:id="rId4"/>
    <p:sldLayoutId id="2147484421" r:id="rId5"/>
    <p:sldLayoutId id="2147484422" r:id="rId6"/>
    <p:sldLayoutId id="2147484423" r:id="rId7"/>
    <p:sldLayoutId id="2147484424" r:id="rId8"/>
    <p:sldLayoutId id="2147484425" r:id="rId9"/>
    <p:sldLayoutId id="2147484426" r:id="rId10"/>
    <p:sldLayoutId id="2147484427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9pPr>
    </p:titleStyle>
    <p:bodyStyle>
      <a:lvl1pPr marL="171450" indent="-171450" algn="l" defTabSz="1838325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1pPr>
      <a:lvl2pPr marL="344488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2pPr>
      <a:lvl3pPr marL="517525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3pPr>
      <a:lvl4pPr marL="685800" indent="-166688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4pPr>
      <a:lvl5pPr marL="8524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5pPr>
      <a:lvl6pPr marL="13096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6pPr>
      <a:lvl7pPr marL="17668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7pPr>
      <a:lvl8pPr marL="22240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8pPr>
      <a:lvl9pPr marL="26812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Line 14"/>
          <p:cNvSpPr>
            <a:spLocks noChangeShapeType="1"/>
          </p:cNvSpPr>
          <p:nvPr/>
        </p:nvSpPr>
        <p:spPr bwMode="auto">
          <a:xfrm>
            <a:off x="141288" y="457200"/>
            <a:ext cx="8866187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solidFill>
                <a:srgbClr val="53565A"/>
              </a:solidFill>
              <a:ea typeface="ヒラギノ角ゴ Pro W3" pitchFamily="124" charset="-128"/>
              <a:cs typeface="+mn-cs"/>
            </a:endParaRPr>
          </a:p>
        </p:txBody>
      </p:sp>
      <p:sp>
        <p:nvSpPr>
          <p:cNvPr id="1026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7" name="Line 11"/>
          <p:cNvSpPr>
            <a:spLocks noChangeShapeType="1"/>
          </p:cNvSpPr>
          <p:nvPr/>
        </p:nvSpPr>
        <p:spPr bwMode="auto">
          <a:xfrm>
            <a:off x="141288" y="6400800"/>
            <a:ext cx="8866187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solidFill>
                <a:srgbClr val="53565A"/>
              </a:solidFill>
              <a:ea typeface="ヒラギノ角ゴ Pro W3" pitchFamily="124" charset="-128"/>
              <a:cs typeface="+mn-cs"/>
            </a:endParaRPr>
          </a:p>
        </p:txBody>
      </p:sp>
      <p:pic>
        <p:nvPicPr>
          <p:cNvPr id="1030" name="Picture 10" descr="citi-r_2c-blu_pos_rgb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Rectangle 8"/>
          <p:cNvSpPr>
            <a:spLocks noGrp="1" noChangeArrowheads="1"/>
          </p:cNvSpPr>
          <p:nvPr>
            <p:ph type="title"/>
          </p:nvPr>
        </p:nvSpPr>
        <p:spPr bwMode="gray">
          <a:xfrm>
            <a:off x="141288" y="60325"/>
            <a:ext cx="8859837" cy="3778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8055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9" r:id="rId1"/>
    <p:sldLayoutId id="2147484430" r:id="rId2"/>
    <p:sldLayoutId id="2147484431" r:id="rId3"/>
    <p:sldLayoutId id="2147484432" r:id="rId4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9pPr>
    </p:titleStyle>
    <p:bodyStyle>
      <a:lvl1pPr marL="171450" indent="-171450" algn="l" defTabSz="1838325" rtl="0" eaLnBrk="1" fontAlgn="base" hangingPunct="1">
        <a:spcBef>
          <a:spcPct val="7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1pPr>
      <a:lvl2pPr marL="344488" indent="-171450" algn="l" defTabSz="1838325" rtl="0" eaLnBrk="1" fontAlgn="base" hangingPunct="1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2pPr>
      <a:lvl3pPr marL="517525" indent="-171450" algn="l" defTabSz="1838325" rtl="0" eaLnBrk="1" fontAlgn="base" hangingPunct="1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3pPr>
      <a:lvl4pPr marL="685800" indent="-166688" algn="l" defTabSz="1838325" rtl="0" eaLnBrk="1" fontAlgn="base" hangingPunct="1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4pPr>
      <a:lvl5pPr marL="852488" indent="-165100" algn="l" defTabSz="1838325" rtl="0" eaLnBrk="1" fontAlgn="base" hangingPunct="1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5pPr>
      <a:lvl6pPr marL="1309688" indent="-165100" algn="l" defTabSz="1838325" rtl="0" eaLnBrk="1" fontAlgn="base" hangingPunct="1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6pPr>
      <a:lvl7pPr marL="1766888" indent="-165100" algn="l" defTabSz="1838325" rtl="0" eaLnBrk="1" fontAlgn="base" hangingPunct="1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7pPr>
      <a:lvl8pPr marL="2224088" indent="-165100" algn="l" defTabSz="1838325" rtl="0" eaLnBrk="1" fontAlgn="base" hangingPunct="1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8pPr>
      <a:lvl9pPr marL="2681288" indent="-165100" algn="l" defTabSz="1838325" rtl="0" eaLnBrk="1" fontAlgn="base" hangingPunct="1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35982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4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Line 14"/>
          <p:cNvSpPr>
            <a:spLocks noChangeShapeType="1"/>
          </p:cNvSpPr>
          <p:nvPr/>
        </p:nvSpPr>
        <p:spPr bwMode="auto">
          <a:xfrm>
            <a:off x="141288" y="6096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029" name="Rectangle 83"/>
          <p:cNvSpPr>
            <a:spLocks noGrp="1" noChangeArrowheads="1"/>
          </p:cNvSpPr>
          <p:nvPr>
            <p:ph type="title"/>
          </p:nvPr>
        </p:nvSpPr>
        <p:spPr bwMode="gray">
          <a:xfrm>
            <a:off x="141288" y="155575"/>
            <a:ext cx="8859837" cy="3778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30" name="Picture 19" descr="citi-r_2c-blu_pos_rgb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7544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4" r:id="rId1"/>
    <p:sldLayoutId id="2147484435" r:id="rId2"/>
    <p:sldLayoutId id="2147484436" r:id="rId3"/>
    <p:sldLayoutId id="2147484437" r:id="rId4"/>
    <p:sldLayoutId id="2147484438" r:id="rId5"/>
    <p:sldLayoutId id="2147484439" r:id="rId6"/>
    <p:sldLayoutId id="2147484440" r:id="rId7"/>
    <p:sldLayoutId id="2147484441" r:id="rId8"/>
    <p:sldLayoutId id="2147484442" r:id="rId9"/>
    <p:sldLayoutId id="2147484443" r:id="rId10"/>
    <p:sldLayoutId id="2147484444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9pPr>
    </p:titleStyle>
    <p:bodyStyle>
      <a:lvl1pPr marL="171450" indent="-171450" algn="l" defTabSz="1838325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1pPr>
      <a:lvl2pPr marL="344488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2pPr>
      <a:lvl3pPr marL="517525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3pPr>
      <a:lvl4pPr marL="685800" indent="-166688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4pPr>
      <a:lvl5pPr marL="8524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5pPr>
      <a:lvl6pPr marL="13096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6pPr>
      <a:lvl7pPr marL="17668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7pPr>
      <a:lvl8pPr marL="22240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8pPr>
      <a:lvl9pPr marL="26812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362150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15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8" name="Line 11"/>
          <p:cNvSpPr>
            <a:spLocks noChangeShapeType="1"/>
          </p:cNvSpPr>
          <p:nvPr/>
        </p:nvSpPr>
        <p:spPr bwMode="auto">
          <a:xfrm>
            <a:off x="141288" y="64008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>
              <a:solidFill>
                <a:srgbClr val="53565A"/>
              </a:solidFill>
            </a:endParaRPr>
          </a:p>
        </p:txBody>
      </p:sp>
      <p:sp>
        <p:nvSpPr>
          <p:cNvPr id="1029" name="Line 14"/>
          <p:cNvSpPr>
            <a:spLocks noChangeShapeType="1"/>
          </p:cNvSpPr>
          <p:nvPr/>
        </p:nvSpPr>
        <p:spPr bwMode="auto">
          <a:xfrm>
            <a:off x="141288" y="4572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>
              <a:solidFill>
                <a:srgbClr val="53565A"/>
              </a:solidFill>
            </a:endParaRPr>
          </a:p>
        </p:txBody>
      </p:sp>
      <p:sp>
        <p:nvSpPr>
          <p:cNvPr id="1030" name="Rectangle 83"/>
          <p:cNvSpPr>
            <a:spLocks noGrp="1" noChangeArrowheads="1"/>
          </p:cNvSpPr>
          <p:nvPr>
            <p:ph type="title"/>
          </p:nvPr>
        </p:nvSpPr>
        <p:spPr bwMode="gray">
          <a:xfrm>
            <a:off x="141288" y="60325"/>
            <a:ext cx="8859837" cy="3778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pic>
        <p:nvPicPr>
          <p:cNvPr id="1031" name="Picture 19" descr="citi-r_2c-blu_pos_rgb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3365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6" r:id="rId1"/>
    <p:sldLayoutId id="2147484447" r:id="rId2"/>
    <p:sldLayoutId id="2147484448" r:id="rId3"/>
    <p:sldLayoutId id="2147484449" r:id="rId4"/>
    <p:sldLayoutId id="2147484450" r:id="rId5"/>
    <p:sldLayoutId id="2147484451" r:id="rId6"/>
    <p:sldLayoutId id="2147484452" r:id="rId7"/>
    <p:sldLayoutId id="2147484453" r:id="rId8"/>
    <p:sldLayoutId id="2147484454" r:id="rId9"/>
    <p:sldLayoutId id="2147484455" r:id="rId10"/>
    <p:sldLayoutId id="2147484456" r:id="rId11"/>
    <p:sldLayoutId id="2147484457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9pPr>
    </p:titleStyle>
    <p:bodyStyle>
      <a:lvl1pPr marL="171450" indent="-171450" algn="l" defTabSz="1838325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1pPr>
      <a:lvl2pPr marL="344488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2pPr>
      <a:lvl3pPr marL="517525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3pPr>
      <a:lvl4pPr marL="685800" indent="-166688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4pPr>
      <a:lvl5pPr marL="8524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5pPr>
      <a:lvl6pPr marL="13096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6pPr>
      <a:lvl7pPr marL="17668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7pPr>
      <a:lvl8pPr marL="22240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8pPr>
      <a:lvl9pPr marL="26812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083836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19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Line 14"/>
          <p:cNvSpPr>
            <a:spLocks noChangeShapeType="1"/>
          </p:cNvSpPr>
          <p:nvPr/>
        </p:nvSpPr>
        <p:spPr bwMode="auto">
          <a:xfrm>
            <a:off x="141288" y="6096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029" name="Rectangle 83"/>
          <p:cNvSpPr>
            <a:spLocks noGrp="1" noChangeArrowheads="1"/>
          </p:cNvSpPr>
          <p:nvPr>
            <p:ph type="title"/>
          </p:nvPr>
        </p:nvSpPr>
        <p:spPr bwMode="gray">
          <a:xfrm>
            <a:off x="141288" y="155575"/>
            <a:ext cx="8859837" cy="3778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30" name="Picture 19" descr="citi-r_2c-blu_pos_rgb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7583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9" r:id="rId1"/>
    <p:sldLayoutId id="2147484460" r:id="rId2"/>
    <p:sldLayoutId id="2147484461" r:id="rId3"/>
    <p:sldLayoutId id="2147484462" r:id="rId4"/>
    <p:sldLayoutId id="2147484463" r:id="rId5"/>
    <p:sldLayoutId id="2147484464" r:id="rId6"/>
    <p:sldLayoutId id="2147484465" r:id="rId7"/>
    <p:sldLayoutId id="2147484466" r:id="rId8"/>
    <p:sldLayoutId id="2147484467" r:id="rId9"/>
    <p:sldLayoutId id="2147484468" r:id="rId10"/>
    <p:sldLayoutId id="2147484469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9pPr>
    </p:titleStyle>
    <p:bodyStyle>
      <a:lvl1pPr marL="171450" indent="-171450" algn="l" defTabSz="1838325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1pPr>
      <a:lvl2pPr marL="344488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2pPr>
      <a:lvl3pPr marL="517525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3pPr>
      <a:lvl4pPr marL="685800" indent="-166688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4pPr>
      <a:lvl5pPr marL="8524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5pPr>
      <a:lvl6pPr marL="13096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6pPr>
      <a:lvl7pPr marL="17668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7pPr>
      <a:lvl8pPr marL="22240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8pPr>
      <a:lvl9pPr marL="26812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81077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41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Line 14"/>
          <p:cNvSpPr>
            <a:spLocks noChangeShapeType="1"/>
          </p:cNvSpPr>
          <p:nvPr/>
        </p:nvSpPr>
        <p:spPr bwMode="auto">
          <a:xfrm>
            <a:off x="141288" y="6096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029" name="Rectangle 83"/>
          <p:cNvSpPr>
            <a:spLocks noGrp="1" noChangeArrowheads="1"/>
          </p:cNvSpPr>
          <p:nvPr>
            <p:ph type="title"/>
          </p:nvPr>
        </p:nvSpPr>
        <p:spPr bwMode="gray">
          <a:xfrm>
            <a:off x="141288" y="155575"/>
            <a:ext cx="8859837" cy="3778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30" name="Picture 19" descr="citi-r_2c-blu_pos_rgb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35473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1" r:id="rId1"/>
    <p:sldLayoutId id="2147484472" r:id="rId2"/>
    <p:sldLayoutId id="2147484473" r:id="rId3"/>
    <p:sldLayoutId id="2147484474" r:id="rId4"/>
    <p:sldLayoutId id="2147484475" r:id="rId5"/>
    <p:sldLayoutId id="2147484476" r:id="rId6"/>
    <p:sldLayoutId id="2147484477" r:id="rId7"/>
    <p:sldLayoutId id="2147484478" r:id="rId8"/>
    <p:sldLayoutId id="2147484479" r:id="rId9"/>
    <p:sldLayoutId id="2147484480" r:id="rId10"/>
    <p:sldLayoutId id="214748448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9pPr>
    </p:titleStyle>
    <p:bodyStyle>
      <a:lvl1pPr marL="171450" indent="-171450" algn="l" defTabSz="1838325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1pPr>
      <a:lvl2pPr marL="344488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2pPr>
      <a:lvl3pPr marL="517525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3pPr>
      <a:lvl4pPr marL="685800" indent="-166688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4pPr>
      <a:lvl5pPr marL="8524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5pPr>
      <a:lvl6pPr marL="13096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6pPr>
      <a:lvl7pPr marL="17668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7pPr>
      <a:lvl8pPr marL="22240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8pPr>
      <a:lvl9pPr marL="26812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33160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47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Line 14"/>
          <p:cNvSpPr>
            <a:spLocks noChangeShapeType="1"/>
          </p:cNvSpPr>
          <p:nvPr/>
        </p:nvSpPr>
        <p:spPr bwMode="auto">
          <a:xfrm>
            <a:off x="141288" y="6096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029" name="Rectangle 83"/>
          <p:cNvSpPr>
            <a:spLocks noGrp="1" noChangeArrowheads="1"/>
          </p:cNvSpPr>
          <p:nvPr>
            <p:ph type="title"/>
          </p:nvPr>
        </p:nvSpPr>
        <p:spPr bwMode="gray">
          <a:xfrm>
            <a:off x="141288" y="155575"/>
            <a:ext cx="8859837" cy="3778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30" name="Picture 19" descr="citi-r_2c-blu_pos_rgb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74618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3" r:id="rId1"/>
    <p:sldLayoutId id="2147484484" r:id="rId2"/>
    <p:sldLayoutId id="2147484485" r:id="rId3"/>
    <p:sldLayoutId id="2147484486" r:id="rId4"/>
    <p:sldLayoutId id="2147484487" r:id="rId5"/>
    <p:sldLayoutId id="2147484488" r:id="rId6"/>
    <p:sldLayoutId id="2147484489" r:id="rId7"/>
    <p:sldLayoutId id="2147484490" r:id="rId8"/>
    <p:sldLayoutId id="2147484491" r:id="rId9"/>
    <p:sldLayoutId id="2147484492" r:id="rId10"/>
    <p:sldLayoutId id="2147484493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9pPr>
    </p:titleStyle>
    <p:bodyStyle>
      <a:lvl1pPr marL="171450" indent="-171450" algn="l" defTabSz="1838325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1pPr>
      <a:lvl2pPr marL="344488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2pPr>
      <a:lvl3pPr marL="517525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3pPr>
      <a:lvl4pPr marL="685800" indent="-166688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4pPr>
      <a:lvl5pPr marL="8524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5pPr>
      <a:lvl6pPr marL="13096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6pPr>
      <a:lvl7pPr marL="17668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7pPr>
      <a:lvl8pPr marL="22240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8pPr>
      <a:lvl9pPr marL="26812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68451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2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Line 14"/>
          <p:cNvSpPr>
            <a:spLocks noChangeShapeType="1"/>
          </p:cNvSpPr>
          <p:nvPr/>
        </p:nvSpPr>
        <p:spPr bwMode="auto">
          <a:xfrm>
            <a:off x="141288" y="609600"/>
            <a:ext cx="8861425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solidFill>
                <a:srgbClr val="53565A"/>
              </a:solidFill>
              <a:latin typeface="Arial"/>
            </a:endParaRPr>
          </a:p>
        </p:txBody>
      </p:sp>
      <p:sp>
        <p:nvSpPr>
          <p:cNvPr id="1029" name="Rectangle 83"/>
          <p:cNvSpPr>
            <a:spLocks noGrp="1" noChangeArrowheads="1"/>
          </p:cNvSpPr>
          <p:nvPr>
            <p:ph type="title"/>
          </p:nvPr>
        </p:nvSpPr>
        <p:spPr bwMode="gray">
          <a:xfrm>
            <a:off x="141288" y="155575"/>
            <a:ext cx="8859837" cy="3778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30" name="Picture 19" descr="citi-r_2c-blu_pos_rgb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59291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5" r:id="rId1"/>
    <p:sldLayoutId id="2147484496" r:id="rId2"/>
    <p:sldLayoutId id="2147484497" r:id="rId3"/>
    <p:sldLayoutId id="2147484498" r:id="rId4"/>
    <p:sldLayoutId id="2147484499" r:id="rId5"/>
    <p:sldLayoutId id="2147484500" r:id="rId6"/>
    <p:sldLayoutId id="2147484501" r:id="rId7"/>
    <p:sldLayoutId id="2147484502" r:id="rId8"/>
    <p:sldLayoutId id="2147484503" r:id="rId9"/>
    <p:sldLayoutId id="2147484504" r:id="rId10"/>
    <p:sldLayoutId id="2147484505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/>
        </a:defRPr>
      </a:lvl9pPr>
    </p:titleStyle>
    <p:bodyStyle>
      <a:lvl1pPr marL="171450" indent="-171450" algn="l" defTabSz="1838325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1pPr>
      <a:lvl2pPr marL="344488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2pPr>
      <a:lvl3pPr marL="517525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3pPr>
      <a:lvl4pPr marL="685800" indent="-166688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4pPr>
      <a:lvl5pPr marL="8524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5pPr>
      <a:lvl6pPr marL="13096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6pPr>
      <a:lvl7pPr marL="17668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7pPr>
      <a:lvl8pPr marL="22240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8pPr>
      <a:lvl9pPr marL="2681288" indent="-165100" algn="l" defTabSz="1838325" rtl="0" fontAlgn="base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 bwMode="auto">
          <a:xfrm>
            <a:off x="0" y="4953000"/>
            <a:ext cx="9144000" cy="1904999"/>
          </a:xfrm>
          <a:prstGeom prst="rect">
            <a:avLst/>
          </a:prstGeom>
          <a:solidFill>
            <a:srgbClr val="ECF0F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ヒラギノ角ゴ Pro W3" pitchFamily="124" charset="-128"/>
            </a:endParaRPr>
          </a:p>
        </p:txBody>
      </p:sp>
      <p:sp>
        <p:nvSpPr>
          <p:cNvPr id="4103" name="Text Box 14"/>
          <p:cNvSpPr txBox="1">
            <a:spLocks noChangeArrowheads="1"/>
          </p:cNvSpPr>
          <p:nvPr/>
        </p:nvSpPr>
        <p:spPr bwMode="gray">
          <a:xfrm>
            <a:off x="149225" y="215900"/>
            <a:ext cx="8855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l" eaLnBrk="1" hangingPunct="1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Cambria" panose="02040503050406030204" pitchFamily="18" charset="0"/>
              </a:rPr>
              <a:t>NAM Rates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1981200"/>
            <a:ext cx="9148762" cy="2971800"/>
          </a:xfrm>
          <a:prstGeom prst="rect">
            <a:avLst/>
          </a:prstGeom>
          <a:solidFill>
            <a:srgbClr val="2A3C5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8" rIns="91438" bIns="45718" rtlCol="0" anchor="ctr"/>
          <a:lstStyle/>
          <a:p>
            <a:pPr algn="ctr"/>
            <a:endParaRPr lang="en-US" sz="700" dirty="0">
              <a:solidFill>
                <a:srgbClr val="33A9AF"/>
              </a:solidFill>
              <a:latin typeface="Calibri" panose="020F0502020204030204" pitchFamily="34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2626659" y="2552700"/>
            <a:ext cx="0" cy="1828800"/>
          </a:xfrm>
          <a:prstGeom prst="line">
            <a:avLst/>
          </a:prstGeom>
          <a:ln w="25400">
            <a:solidFill>
              <a:srgbClr val="F26C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3048000" y="3205492"/>
            <a:ext cx="5651500" cy="523216"/>
          </a:xfrm>
          <a:prstGeom prst="rect">
            <a:avLst/>
          </a:prstGeom>
          <a:noFill/>
        </p:spPr>
        <p:txBody>
          <a:bodyPr wrap="square" lIns="91438" tIns="45718" rIns="91438" bIns="45718" rtlCol="0">
            <a:spAutoFit/>
          </a:bodyPr>
          <a:lstStyle/>
          <a:p>
            <a:r>
              <a:rPr lang="en-GB" sz="2800" spc="100" dirty="0" err="1" smtClean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ERrising</a:t>
            </a:r>
            <a:endParaRPr lang="en-GB" sz="2800" spc="100" dirty="0" smtClean="0">
              <a:solidFill>
                <a:schemeClr val="bg1"/>
              </a:solidFill>
              <a:latin typeface="Calibri" panose="020F0502020204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41288" y="3051604"/>
            <a:ext cx="2289175" cy="369328"/>
          </a:xfrm>
          <a:prstGeom prst="rect">
            <a:avLst/>
          </a:prstGeom>
          <a:noFill/>
        </p:spPr>
        <p:txBody>
          <a:bodyPr wrap="square" lIns="91438" tIns="45718" rIns="91438" bIns="45718" rtlCol="0">
            <a:spAutoFit/>
          </a:bodyPr>
          <a:lstStyle/>
          <a:p>
            <a:r>
              <a:rPr lang="en-GB" sz="1800" spc="100" dirty="0" smtClean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une</a:t>
            </a:r>
            <a:r>
              <a:rPr lang="en-GB" sz="1800" spc="100" dirty="0" smtClean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2020</a:t>
            </a:r>
            <a:endParaRPr lang="en-US" sz="1800" spc="100" dirty="0">
              <a:solidFill>
                <a:schemeClr val="bg1"/>
              </a:solidFill>
              <a:latin typeface="Calibri" panose="020F0502020204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110" y="-1"/>
            <a:ext cx="9144000" cy="1981201"/>
          </a:xfrm>
          <a:prstGeom prst="rect">
            <a:avLst/>
          </a:prstGeom>
          <a:solidFill>
            <a:srgbClr val="ECF0F1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ヒラギノ角ゴ Pro W3" pitchFamily="124" charset="-128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0939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Browse Task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34F0E2-D9BC-4F47-B65E-516E401AD01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2252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8850" y="626724"/>
            <a:ext cx="4686300" cy="59407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62818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Profile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34F0E2-D9BC-4F47-B65E-516E401AD01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2263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525" y="985624"/>
            <a:ext cx="4867275" cy="4619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71348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User Journey</a:t>
            </a:r>
            <a:endParaRPr lang="en-IN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5864246"/>
              </p:ext>
            </p:extLst>
          </p:nvPr>
        </p:nvGraphicFramePr>
        <p:xfrm>
          <a:off x="141288" y="884238"/>
          <a:ext cx="8861424" cy="2473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3808"/>
                <a:gridCol w="2953808"/>
                <a:gridCol w="2953808"/>
              </a:tblGrid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User(Actor)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 Actions(Jobs)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Story Ending</a:t>
                      </a:r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Task Creato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Build Profile</a:t>
                      </a:r>
                    </a:p>
                    <a:p>
                      <a:r>
                        <a:rPr lang="en-IN" dirty="0" smtClean="0"/>
                        <a:t>Create Task</a:t>
                      </a:r>
                    </a:p>
                    <a:p>
                      <a:r>
                        <a:rPr lang="en-IN" dirty="0" smtClean="0"/>
                        <a:t>Find Contributor</a:t>
                      </a:r>
                    </a:p>
                    <a:p>
                      <a:r>
                        <a:rPr lang="en-IN" dirty="0" smtClean="0"/>
                        <a:t>Contact</a:t>
                      </a:r>
                      <a:r>
                        <a:rPr lang="en-IN" baseline="0" dirty="0" smtClean="0"/>
                        <a:t> Contributo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Task Delegated</a:t>
                      </a:r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Contributo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Build Profile</a:t>
                      </a:r>
                    </a:p>
                    <a:p>
                      <a:r>
                        <a:rPr lang="en-IN" dirty="0" smtClean="0"/>
                        <a:t>Browse Tasks</a:t>
                      </a:r>
                    </a:p>
                    <a:p>
                      <a:r>
                        <a:rPr lang="en-IN" dirty="0" smtClean="0"/>
                        <a:t>Apply Task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Informal skills used to earn money</a:t>
                      </a:r>
                      <a:endParaRPr lang="en-IN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80839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Pain and Gain map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34F0E2-D9BC-4F47-B65E-516E401AD01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8524017"/>
              </p:ext>
            </p:extLst>
          </p:nvPr>
        </p:nvGraphicFramePr>
        <p:xfrm>
          <a:off x="698643" y="1397000"/>
          <a:ext cx="7664520" cy="3754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54840"/>
                <a:gridCol w="2554840"/>
                <a:gridCol w="2554840"/>
              </a:tblGrid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Pains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Action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Gains</a:t>
                      </a:r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Trouble delegating</a:t>
                      </a:r>
                      <a:r>
                        <a:rPr lang="en-IN" baseline="0" dirty="0" smtClean="0"/>
                        <a:t> house hold task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Create Task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Task delegated</a:t>
                      </a:r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Need</a:t>
                      </a:r>
                      <a:r>
                        <a:rPr lang="en-IN" baseline="0" dirty="0" smtClean="0"/>
                        <a:t> to buy anything urgently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Search contributors(home-based seller)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View available sellers</a:t>
                      </a:r>
                      <a:r>
                        <a:rPr lang="en-IN" baseline="0" dirty="0" smtClean="0"/>
                        <a:t> and buy immediately</a:t>
                      </a:r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Home-maker</a:t>
                      </a:r>
                      <a:r>
                        <a:rPr lang="en-IN" baseline="0" dirty="0" smtClean="0"/>
                        <a:t> wants to utilize here</a:t>
                      </a:r>
                      <a:r>
                        <a:rPr lang="en-IN" dirty="0" smtClean="0"/>
                        <a:t> informal skills to earn money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Browse</a:t>
                      </a:r>
                      <a:r>
                        <a:rPr lang="en-IN" baseline="0" dirty="0" smtClean="0"/>
                        <a:t> and apply task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Informal skill used to earn money</a:t>
                      </a:r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College girl wants to earn some extra</a:t>
                      </a:r>
                      <a:r>
                        <a:rPr lang="en-IN" baseline="0" dirty="0" smtClean="0"/>
                        <a:t> quick money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Browse and</a:t>
                      </a:r>
                      <a:r>
                        <a:rPr lang="en-IN" baseline="0" dirty="0" smtClean="0"/>
                        <a:t> apply for micro tasks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Quick money earned by completing</a:t>
                      </a:r>
                      <a:r>
                        <a:rPr lang="en-IN" baseline="0" dirty="0" smtClean="0"/>
                        <a:t> micro tasks</a:t>
                      </a:r>
                      <a:endParaRPr lang="en-IN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67645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Story board- Search and Apply Task 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34F0E2-D9BC-4F47-B65E-516E401AD01B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5" name="Picture 4"/>
          <p:cNvPicPr/>
          <p:nvPr/>
        </p:nvPicPr>
        <p:blipFill>
          <a:blip r:embed="rId2"/>
          <a:stretch>
            <a:fillRect/>
          </a:stretch>
        </p:blipFill>
        <p:spPr>
          <a:xfrm>
            <a:off x="256656" y="772801"/>
            <a:ext cx="2157771" cy="2658768"/>
          </a:xfrm>
          <a:prstGeom prst="rect">
            <a:avLst/>
          </a:prstGeom>
        </p:spPr>
      </p:pic>
      <p:cxnSp>
        <p:nvCxnSpPr>
          <p:cNvPr id="8" name="Straight Arrow Connector 7"/>
          <p:cNvCxnSpPr/>
          <p:nvPr/>
        </p:nvCxnSpPr>
        <p:spPr bwMode="auto">
          <a:xfrm flipV="1">
            <a:off x="1500027" y="1530849"/>
            <a:ext cx="1827035" cy="1633591"/>
          </a:xfrm>
          <a:prstGeom prst="straightConnector1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0" name="TextBox 9"/>
          <p:cNvSpPr txBox="1"/>
          <p:nvPr/>
        </p:nvSpPr>
        <p:spPr>
          <a:xfrm>
            <a:off x="6472719" y="1808252"/>
            <a:ext cx="226031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itchFamily="34" charset="0"/>
              <a:buChar char="•"/>
            </a:pPr>
            <a:r>
              <a:rPr lang="en-IN" b="1" dirty="0" smtClean="0"/>
              <a:t>User logs in with credentials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IN" b="1" dirty="0" smtClean="0"/>
              <a:t>User is defaulted Tasks page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IN" b="1" dirty="0" smtClean="0"/>
              <a:t>Click on name to view profile of contributor</a:t>
            </a:r>
          </a:p>
          <a:p>
            <a:pPr algn="l"/>
            <a:endParaRPr lang="en-IN" dirty="0" smtClean="0"/>
          </a:p>
          <a:p>
            <a:endParaRPr lang="en-IN" dirty="0"/>
          </a:p>
        </p:txBody>
      </p:sp>
      <p:pic>
        <p:nvPicPr>
          <p:cNvPr id="2283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1723" y="807841"/>
            <a:ext cx="2595883" cy="23854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835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0636" y="3550760"/>
            <a:ext cx="2730945" cy="2412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2" name="Straight Arrow Connector 11"/>
          <p:cNvCxnSpPr>
            <a:endCxn id="228355" idx="0"/>
          </p:cNvCxnSpPr>
          <p:nvPr/>
        </p:nvCxnSpPr>
        <p:spPr bwMode="auto">
          <a:xfrm flipH="1">
            <a:off x="2816109" y="2239766"/>
            <a:ext cx="892862" cy="1310994"/>
          </a:xfrm>
          <a:prstGeom prst="straightConnector1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3" name="Rounded Rectangle 12"/>
          <p:cNvSpPr/>
          <p:nvPr/>
        </p:nvSpPr>
        <p:spPr bwMode="auto">
          <a:xfrm>
            <a:off x="5568593" y="3945276"/>
            <a:ext cx="1664414" cy="811536"/>
          </a:xfrm>
          <a:prstGeom prst="round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Notification sent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 to task</a:t>
            </a:r>
            <a:r>
              <a:rPr kumimoji="0" lang="en-IN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 creator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 to accept/reject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 contributor</a:t>
            </a:r>
            <a:endParaRPr kumimoji="0" lang="en-I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ヒラギノ角ゴ Pro W3" pitchFamily="124" charset="-128"/>
            </a:endParaRPr>
          </a:p>
        </p:txBody>
      </p:sp>
      <p:cxnSp>
        <p:nvCxnSpPr>
          <p:cNvPr id="15" name="Straight Arrow Connector 14"/>
          <p:cNvCxnSpPr/>
          <p:nvPr/>
        </p:nvCxnSpPr>
        <p:spPr bwMode="auto">
          <a:xfrm>
            <a:off x="5435029" y="3020602"/>
            <a:ext cx="472611" cy="924674"/>
          </a:xfrm>
          <a:prstGeom prst="straightConnector1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24966843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Story board – Create Task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34F0E2-D9BC-4F47-B65E-516E401AD01B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 bwMode="auto">
          <a:xfrm flipV="1">
            <a:off x="3452116" y="4869950"/>
            <a:ext cx="1078787" cy="603219"/>
          </a:xfrm>
          <a:prstGeom prst="straightConnector1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0" name="TextBox 9"/>
          <p:cNvSpPr txBox="1"/>
          <p:nvPr/>
        </p:nvSpPr>
        <p:spPr>
          <a:xfrm>
            <a:off x="6472719" y="1808252"/>
            <a:ext cx="226031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itchFamily="34" charset="0"/>
              <a:buChar char="•"/>
            </a:pPr>
            <a:r>
              <a:rPr lang="en-IN" b="1" dirty="0" smtClean="0"/>
              <a:t>User creates Task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IN" b="1" dirty="0" smtClean="0"/>
              <a:t>Portal validates, creates task, sends back recommended contributors for the task</a:t>
            </a:r>
          </a:p>
          <a:p>
            <a:pPr algn="l"/>
            <a:endParaRPr lang="en-IN" dirty="0" smtClean="0"/>
          </a:p>
          <a:p>
            <a:endParaRPr lang="en-IN" dirty="0"/>
          </a:p>
        </p:txBody>
      </p:sp>
      <p:sp>
        <p:nvSpPr>
          <p:cNvPr id="13" name="Rounded Rectangle 12"/>
          <p:cNvSpPr/>
          <p:nvPr/>
        </p:nvSpPr>
        <p:spPr bwMode="auto">
          <a:xfrm>
            <a:off x="1253447" y="4869950"/>
            <a:ext cx="2198669" cy="811536"/>
          </a:xfrm>
          <a:prstGeom prst="round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Portal </a:t>
            </a:r>
            <a:r>
              <a:rPr lang="en-IN" dirty="0" smtClean="0">
                <a:ea typeface="ヒラギノ角ゴ Pro W3" pitchFamily="124" charset="-128"/>
              </a:rPr>
              <a:t>internally </a:t>
            </a:r>
            <a:r>
              <a:rPr kumimoji="0" lang="en-IN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validates the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 content and sends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recommended</a:t>
            </a:r>
            <a:r>
              <a:rPr kumimoji="0" lang="en-IN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 contributor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 list for the specified task</a:t>
            </a:r>
            <a:endParaRPr kumimoji="0" lang="en-I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ヒラギノ角ゴ Pro W3" pitchFamily="124" charset="-128"/>
            </a:endParaRPr>
          </a:p>
        </p:txBody>
      </p:sp>
      <p:cxnSp>
        <p:nvCxnSpPr>
          <p:cNvPr id="15" name="Straight Arrow Connector 14"/>
          <p:cNvCxnSpPr/>
          <p:nvPr/>
        </p:nvCxnSpPr>
        <p:spPr bwMode="auto">
          <a:xfrm>
            <a:off x="2116475" y="3888707"/>
            <a:ext cx="472611" cy="924674"/>
          </a:xfrm>
          <a:prstGeom prst="straightConnector1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2293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798" y="530566"/>
            <a:ext cx="3273977" cy="3322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ounded Rectangle 13"/>
          <p:cNvSpPr/>
          <p:nvPr/>
        </p:nvSpPr>
        <p:spPr bwMode="auto">
          <a:xfrm>
            <a:off x="3708970" y="4001845"/>
            <a:ext cx="2198669" cy="811536"/>
          </a:xfrm>
          <a:prstGeom prst="round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Task creator can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click on recommended</a:t>
            </a:r>
            <a:r>
              <a:rPr kumimoji="0" lang="en-IN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contributor and contact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 him through portal</a:t>
            </a:r>
            <a:endParaRPr kumimoji="0" lang="en-I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ヒラギノ角ゴ Pro W3" pitchFamily="124" charset="-128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6164494" y="4661633"/>
            <a:ext cx="2568540" cy="811536"/>
          </a:xfrm>
          <a:prstGeom prst="round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A notification sent to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contributor</a:t>
            </a:r>
            <a:r>
              <a:rPr kumimoji="0" lang="en-IN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 to accept/reject task</a:t>
            </a:r>
            <a:endParaRPr kumimoji="0" lang="en-I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ヒラギノ角ゴ Pro W3" pitchFamily="124" charset="-128"/>
            </a:endParaRPr>
          </a:p>
        </p:txBody>
      </p:sp>
      <p:cxnSp>
        <p:nvCxnSpPr>
          <p:cNvPr id="7" name="Straight Arrow Connector 6"/>
          <p:cNvCxnSpPr/>
          <p:nvPr/>
        </p:nvCxnSpPr>
        <p:spPr bwMode="auto">
          <a:xfrm>
            <a:off x="5907639" y="4171308"/>
            <a:ext cx="842482" cy="490325"/>
          </a:xfrm>
          <a:prstGeom prst="straightConnector1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14829371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Story board – Search and contact contributors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34F0E2-D9BC-4F47-B65E-516E401AD01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 bwMode="auto">
          <a:xfrm flipV="1">
            <a:off x="1500027" y="1530849"/>
            <a:ext cx="1827035" cy="1633591"/>
          </a:xfrm>
          <a:prstGeom prst="straightConnector1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0" name="TextBox 9"/>
          <p:cNvSpPr txBox="1"/>
          <p:nvPr/>
        </p:nvSpPr>
        <p:spPr>
          <a:xfrm>
            <a:off x="6472719" y="1808252"/>
            <a:ext cx="2260315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itchFamily="34" charset="0"/>
              <a:buChar char="•"/>
            </a:pPr>
            <a:r>
              <a:rPr lang="en-IN" b="1" dirty="0" smtClean="0"/>
              <a:t>User can search contributors by selecting category from auto select search block or side bar menu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IN" b="1" dirty="0" smtClean="0"/>
              <a:t>User can search contributors locally, or by his popularity</a:t>
            </a:r>
          </a:p>
          <a:p>
            <a:pPr algn="l"/>
            <a:endParaRPr lang="en-IN" dirty="0" smtClean="0"/>
          </a:p>
          <a:p>
            <a:endParaRPr lang="en-IN" dirty="0"/>
          </a:p>
        </p:txBody>
      </p:sp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515" y="807841"/>
            <a:ext cx="2055029" cy="2437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Rounded Rectangle 15"/>
          <p:cNvSpPr/>
          <p:nvPr/>
        </p:nvSpPr>
        <p:spPr bwMode="auto">
          <a:xfrm>
            <a:off x="3349374" y="1125081"/>
            <a:ext cx="1664414" cy="811536"/>
          </a:xfrm>
          <a:prstGeom prst="round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Notification sent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 to contributor</a:t>
            </a:r>
            <a:r>
              <a:rPr kumimoji="0" lang="en-IN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 to accept/reject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N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ヒラギノ角ゴ Pro W3" pitchFamily="124" charset="-128"/>
              </a:rPr>
              <a:t> task</a:t>
            </a:r>
            <a:endParaRPr kumimoji="0" lang="en-I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ヒラギノ角ゴ Pro W3" pitchFamily="12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316140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Login Page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34F0E2-D9BC-4F47-B65E-516E401AD01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2211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8263" y="738188"/>
            <a:ext cx="6467475" cy="538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982505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Search Contributor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34F0E2-D9BC-4F47-B65E-516E401AD01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2232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682" y="719190"/>
            <a:ext cx="6019800" cy="579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988342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Create Task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34F0E2-D9BC-4F47-B65E-516E401AD01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2242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2125" y="790575"/>
            <a:ext cx="5619750" cy="527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319974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&gt;&lt;m_bNumberIsYear val=&quot;0&quot;/&gt;&lt;m_strFormatTime&gt;%1&lt;/m_strFormatTime&gt;&lt;/m_precDefaultMonth&gt;&lt;m_precDefaultWeek/&gt;&lt;m_precDefaultDay/&gt;&lt;m_mruColor&gt;&lt;m_vecMRU length=&quot;2&quot;&gt;&lt;elem m_fUsage=&quot;5.64749821000000020000E+000&quot;&gt;&lt;m_msothmcolidx val=&quot;0&quot;/&gt;&lt;m_rgb r=&quot;17&quot; g=&quot;c1&quot; b=&quot;5b&quot;/&gt;&lt;m_ppcolschidx tagver0=&quot;23004&quot; tagname0=&quot;m_ppcolschidxUNRECOGNIZED&quot; val=&quot;0&quot;/&gt;&lt;m_nBrightness val=&quot;0&quot;/&gt;&lt;/elem&gt;&lt;elem m_fUsage=&quot;4.78296900000000140000E-001&quot;&gt;&lt;m_msothmcolidx val=&quot;0&quot;/&gt;&lt;m_rgb r=&quot;fb&quot; g=&quot;fd&quot; b=&quot;b9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CG_Pres(Letter)">
  <a:themeElements>
    <a:clrScheme name="2_ICG_Pres (Letter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FFFFFF"/>
      </a:accent3>
      <a:accent4>
        <a:srgbClr val="46484C"/>
      </a:accent4>
      <a:accent5>
        <a:srgbClr val="AAADBC"/>
      </a:accent5>
      <a:accent6>
        <a:srgbClr val="8A9BB4"/>
      </a:accent6>
      <a:hlink>
        <a:srgbClr val="00BDF2"/>
      </a:hlink>
      <a:folHlink>
        <a:srgbClr val="99E4FA"/>
      </a:folHlink>
    </a:clrScheme>
    <a:fontScheme name="2_ICG_Pres (Letter)">
      <a:majorFont>
        <a:latin typeface="Arial"/>
        <a:ea typeface="ヒラギノ角ゴ Pro W3"/>
        <a:cs typeface="Geneva"/>
      </a:majorFont>
      <a:minorFont>
        <a:latin typeface="Arial"/>
        <a:ea typeface="ヒラギノ角ゴ Pro W3"/>
        <a:cs typeface="Genev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</a:objectDefaults>
  <a:extraClrSchemeLst>
    <a:extraClrScheme>
      <a:clrScheme name="2_ICG_Pres (Letter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8_ICG_Pres(Letter)">
  <a:themeElements>
    <a:clrScheme name="2_ICG_Pres (Letter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FFFFFF"/>
      </a:accent3>
      <a:accent4>
        <a:srgbClr val="46484C"/>
      </a:accent4>
      <a:accent5>
        <a:srgbClr val="AAADBC"/>
      </a:accent5>
      <a:accent6>
        <a:srgbClr val="8A9BB4"/>
      </a:accent6>
      <a:hlink>
        <a:srgbClr val="00BDF2"/>
      </a:hlink>
      <a:folHlink>
        <a:srgbClr val="99E4FA"/>
      </a:folHlink>
    </a:clrScheme>
    <a:fontScheme name="2_ICG_Pres (Letter)">
      <a:majorFont>
        <a:latin typeface="Arial"/>
        <a:ea typeface="ヒラギノ角ゴ Pro W3"/>
        <a:cs typeface="Geneva"/>
      </a:majorFont>
      <a:minorFont>
        <a:latin typeface="Arial"/>
        <a:ea typeface="ヒラギノ角ゴ Pro W3"/>
        <a:cs typeface="Genev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</a:objectDefaults>
  <a:extraClrSchemeLst>
    <a:extraClrScheme>
      <a:clrScheme name="2_ICG_Pres (Letter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0_ICG_Pres(Letter)">
  <a:themeElements>
    <a:clrScheme name="2_ICG_Pres (Letter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FFFFFF"/>
      </a:accent3>
      <a:accent4>
        <a:srgbClr val="46484C"/>
      </a:accent4>
      <a:accent5>
        <a:srgbClr val="AAADBC"/>
      </a:accent5>
      <a:accent6>
        <a:srgbClr val="8A9BB4"/>
      </a:accent6>
      <a:hlink>
        <a:srgbClr val="00BDF2"/>
      </a:hlink>
      <a:folHlink>
        <a:srgbClr val="99E4FA"/>
      </a:folHlink>
    </a:clrScheme>
    <a:fontScheme name="2_ICG_Pres (Letter)">
      <a:majorFont>
        <a:latin typeface="Arial"/>
        <a:ea typeface="ヒラギノ角ゴ Pro W3"/>
        <a:cs typeface="Geneva"/>
      </a:majorFont>
      <a:minorFont>
        <a:latin typeface="Arial"/>
        <a:ea typeface="ヒラギノ角ゴ Pro W3"/>
        <a:cs typeface="Genev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</a:objectDefaults>
  <a:extraClrSchemeLst>
    <a:extraClrScheme>
      <a:clrScheme name="2_ICG_Pres (Letter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ICG_Pres(Letter)">
  <a:themeElements>
    <a:clrScheme name="2_ICG_Pres (Letter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FFFFFF"/>
      </a:accent3>
      <a:accent4>
        <a:srgbClr val="46484C"/>
      </a:accent4>
      <a:accent5>
        <a:srgbClr val="AAADBC"/>
      </a:accent5>
      <a:accent6>
        <a:srgbClr val="8A9BB4"/>
      </a:accent6>
      <a:hlink>
        <a:srgbClr val="00BDF2"/>
      </a:hlink>
      <a:folHlink>
        <a:srgbClr val="99E4FA"/>
      </a:folHlink>
    </a:clrScheme>
    <a:fontScheme name="2_ICG_Pres (Letter)">
      <a:majorFont>
        <a:latin typeface="Arial"/>
        <a:ea typeface="ヒラギノ角ゴ Pro W3"/>
        <a:cs typeface="Geneva"/>
      </a:majorFont>
      <a:minorFont>
        <a:latin typeface="Arial"/>
        <a:ea typeface="ヒラギノ角ゴ Pro W3"/>
        <a:cs typeface="Genev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</a:objectDefaults>
  <a:extraClrSchemeLst>
    <a:extraClrScheme>
      <a:clrScheme name="2_ICG_Pres (Letter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iti ICG PPT Template (letter)">
  <a:themeElements>
    <a:clrScheme name="ICG_Pres (A4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00BDF2"/>
      </a:accent3>
      <a:accent4>
        <a:srgbClr val="99E4FA"/>
      </a:accent4>
      <a:accent5>
        <a:srgbClr val="53565A"/>
      </a:accent5>
      <a:accent6>
        <a:srgbClr val="97999B"/>
      </a:accent6>
      <a:hlink>
        <a:srgbClr val="00BDF2"/>
      </a:hlink>
      <a:folHlink>
        <a:srgbClr val="99DFE3"/>
      </a:folHlink>
    </a:clrScheme>
    <a:fontScheme name="ICG Fonts">
      <a:majorFont>
        <a:latin typeface="Arial"/>
        <a:ea typeface="STKaiti"/>
        <a:cs typeface=""/>
        <a:font script="Jpan" typeface="MS PGothic"/>
      </a:majorFont>
      <a:minorFont>
        <a:latin typeface="Arial"/>
        <a:ea typeface="STKaiti"/>
        <a:cs typeface=""/>
        <a:font script="Jpan" typeface="MS PGothic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</a:objectDefaults>
  <a:extraClrSchemeLst>
    <a:extraClrScheme>
      <a:clrScheme name="ICG_Pres (A4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Goldenrod">
      <a:srgbClr val="C99700"/>
    </a:custClr>
    <a:custClr name="Goldenrod Tint">
      <a:srgbClr val="E9D599"/>
    </a:custClr>
    <a:custClr name="Forest">
      <a:srgbClr val="00843D"/>
    </a:custClr>
    <a:custClr name="Forest Tint">
      <a:srgbClr val="66B797"/>
    </a:custClr>
    <a:custClr name="Plum">
      <a:srgbClr val="890C58"/>
    </a:custClr>
    <a:custClr name="Plum Tint">
      <a:srgbClr val="B37A9F"/>
    </a:custClr>
    <a:custClr name="Olive">
      <a:srgbClr val="949300"/>
    </a:custClr>
    <a:custClr name="Olive Tint">
      <a:srgbClr val="D4D499"/>
    </a:custClr>
    <a:custClr name="Citi Cyan Tint (20%)">
      <a:srgbClr val="CCF2FC"/>
    </a:custClr>
    <a:custClr name="Citi Light Gray Tint (20%)">
      <a:srgbClr val="EAEBEB"/>
    </a:custClr>
    <a:custClr name="Teal">
      <a:srgbClr val="007377"/>
    </a:custClr>
    <a:custClr name="Teal Tint">
      <a:srgbClr val="99C7C9"/>
    </a:custClr>
    <a:custClr name="Tangerine">
      <a:srgbClr val="ED8B00"/>
    </a:custClr>
    <a:custClr name="Tangerine Tint">
      <a:srgbClr val="F8D199"/>
    </a:custClr>
    <a:custClr name="Purple">
      <a:srgbClr val="6B3077"/>
    </a:custClr>
    <a:custClr name="Purple Tint">
      <a:srgbClr val="C4ACC9"/>
    </a:custClr>
    <a:custClr name="Green">
      <a:srgbClr val="84BD00"/>
    </a:custClr>
    <a:custClr name="Green Tint">
      <a:srgbClr val="CEE599"/>
    </a:custClr>
    <a:custClr name="Burnt Orange">
      <a:srgbClr val="CB6015"/>
    </a:custClr>
  </a:custClrLst>
</a:theme>
</file>

<file path=ppt/theme/theme4.xml><?xml version="1.0" encoding="utf-8"?>
<a:theme xmlns:a="http://schemas.openxmlformats.org/drawingml/2006/main" name="2_ICG_Pres(Letter)">
  <a:themeElements>
    <a:clrScheme name="2_ICG_Pres (Letter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FFFFFF"/>
      </a:accent3>
      <a:accent4>
        <a:srgbClr val="46484C"/>
      </a:accent4>
      <a:accent5>
        <a:srgbClr val="AAADBC"/>
      </a:accent5>
      <a:accent6>
        <a:srgbClr val="8A9BB4"/>
      </a:accent6>
      <a:hlink>
        <a:srgbClr val="00BDF2"/>
      </a:hlink>
      <a:folHlink>
        <a:srgbClr val="99E4FA"/>
      </a:folHlink>
    </a:clrScheme>
    <a:fontScheme name="2_ICG_Pres (Letter)">
      <a:majorFont>
        <a:latin typeface="Arial"/>
        <a:ea typeface="ヒラギノ角ゴ Pro W3"/>
        <a:cs typeface="Geneva"/>
      </a:majorFont>
      <a:minorFont>
        <a:latin typeface="Arial"/>
        <a:ea typeface="ヒラギノ角ゴ Pro W3"/>
        <a:cs typeface="Genev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</a:objectDefaults>
  <a:extraClrSchemeLst>
    <a:extraClrScheme>
      <a:clrScheme name="2_ICG_Pres (Letter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ICG_Pres(Letter)">
  <a:themeElements>
    <a:clrScheme name="2_ICG_Pres (Letter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FFFFFF"/>
      </a:accent3>
      <a:accent4>
        <a:srgbClr val="46484C"/>
      </a:accent4>
      <a:accent5>
        <a:srgbClr val="AAADBC"/>
      </a:accent5>
      <a:accent6>
        <a:srgbClr val="8A9BB4"/>
      </a:accent6>
      <a:hlink>
        <a:srgbClr val="00BDF2"/>
      </a:hlink>
      <a:folHlink>
        <a:srgbClr val="99E4FA"/>
      </a:folHlink>
    </a:clrScheme>
    <a:fontScheme name="2_ICG_Pres (Letter)">
      <a:majorFont>
        <a:latin typeface="Arial"/>
        <a:ea typeface="ヒラギノ角ゴ Pro W3"/>
        <a:cs typeface="Geneva"/>
      </a:majorFont>
      <a:minorFont>
        <a:latin typeface="Arial"/>
        <a:ea typeface="ヒラギノ角ゴ Pro W3"/>
        <a:cs typeface="Genev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</a:objectDefaults>
  <a:extraClrSchemeLst>
    <a:extraClrScheme>
      <a:clrScheme name="2_ICG_Pres (Letter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ICG_Pres(Letter)">
  <a:themeElements>
    <a:clrScheme name="2_ICG_Pres (Letter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FFFFFF"/>
      </a:accent3>
      <a:accent4>
        <a:srgbClr val="46484C"/>
      </a:accent4>
      <a:accent5>
        <a:srgbClr val="AAADBC"/>
      </a:accent5>
      <a:accent6>
        <a:srgbClr val="8A9BB4"/>
      </a:accent6>
      <a:hlink>
        <a:srgbClr val="00BDF2"/>
      </a:hlink>
      <a:folHlink>
        <a:srgbClr val="99E4FA"/>
      </a:folHlink>
    </a:clrScheme>
    <a:fontScheme name="2_ICG_Pres (Letter)">
      <a:majorFont>
        <a:latin typeface="Arial"/>
        <a:ea typeface="ヒラギノ角ゴ Pro W3"/>
        <a:cs typeface="Geneva"/>
      </a:majorFont>
      <a:minorFont>
        <a:latin typeface="Arial"/>
        <a:ea typeface="ヒラギノ角ゴ Pro W3"/>
        <a:cs typeface="Genev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</a:objectDefaults>
  <a:extraClrSchemeLst>
    <a:extraClrScheme>
      <a:clrScheme name="2_ICG_Pres (Letter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5_ICG_Pres(Letter)">
  <a:themeElements>
    <a:clrScheme name="2_ICG_Pres (Letter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FFFFFF"/>
      </a:accent3>
      <a:accent4>
        <a:srgbClr val="46484C"/>
      </a:accent4>
      <a:accent5>
        <a:srgbClr val="AAADBC"/>
      </a:accent5>
      <a:accent6>
        <a:srgbClr val="8A9BB4"/>
      </a:accent6>
      <a:hlink>
        <a:srgbClr val="00BDF2"/>
      </a:hlink>
      <a:folHlink>
        <a:srgbClr val="99E4FA"/>
      </a:folHlink>
    </a:clrScheme>
    <a:fontScheme name="2_ICG_Pres (Letter)">
      <a:majorFont>
        <a:latin typeface="Arial"/>
        <a:ea typeface="ヒラギノ角ゴ Pro W3"/>
        <a:cs typeface="Geneva"/>
      </a:majorFont>
      <a:minorFont>
        <a:latin typeface="Arial"/>
        <a:ea typeface="ヒラギノ角ゴ Pro W3"/>
        <a:cs typeface="Genev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</a:objectDefaults>
  <a:extraClrSchemeLst>
    <a:extraClrScheme>
      <a:clrScheme name="2_ICG_Pres (Letter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6_ICG_Pres(Letter)">
  <a:themeElements>
    <a:clrScheme name="2_ICG_Pres (Letter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FFFFFF"/>
      </a:accent3>
      <a:accent4>
        <a:srgbClr val="46484C"/>
      </a:accent4>
      <a:accent5>
        <a:srgbClr val="AAADBC"/>
      </a:accent5>
      <a:accent6>
        <a:srgbClr val="8A9BB4"/>
      </a:accent6>
      <a:hlink>
        <a:srgbClr val="00BDF2"/>
      </a:hlink>
      <a:folHlink>
        <a:srgbClr val="99E4FA"/>
      </a:folHlink>
    </a:clrScheme>
    <a:fontScheme name="2_ICG_Pres (Letter)">
      <a:majorFont>
        <a:latin typeface="Arial"/>
        <a:ea typeface="ヒラギノ角ゴ Pro W3"/>
        <a:cs typeface="Geneva"/>
      </a:majorFont>
      <a:minorFont>
        <a:latin typeface="Arial"/>
        <a:ea typeface="ヒラギノ角ゴ Pro W3"/>
        <a:cs typeface="Genev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</a:objectDefaults>
  <a:extraClrSchemeLst>
    <a:extraClrScheme>
      <a:clrScheme name="2_ICG_Pres (Letter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7_ICG_Pres(Letter)">
  <a:themeElements>
    <a:clrScheme name="2_ICG_Pres (Letter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FFFFFF"/>
      </a:accent3>
      <a:accent4>
        <a:srgbClr val="46484C"/>
      </a:accent4>
      <a:accent5>
        <a:srgbClr val="AAADBC"/>
      </a:accent5>
      <a:accent6>
        <a:srgbClr val="8A9BB4"/>
      </a:accent6>
      <a:hlink>
        <a:srgbClr val="00BDF2"/>
      </a:hlink>
      <a:folHlink>
        <a:srgbClr val="99E4FA"/>
      </a:folHlink>
    </a:clrScheme>
    <a:fontScheme name="2_ICG_Pres (Letter)">
      <a:majorFont>
        <a:latin typeface="Arial"/>
        <a:ea typeface="ヒラギノ角ゴ Pro W3"/>
        <a:cs typeface="Geneva"/>
      </a:majorFont>
      <a:minorFont>
        <a:latin typeface="Arial"/>
        <a:ea typeface="ヒラギノ角ゴ Pro W3"/>
        <a:cs typeface="Genev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</a:objectDefaults>
  <a:extraClrSchemeLst>
    <a:extraClrScheme>
      <a:clrScheme name="2_ICG_Pres (Letter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CG_Pres(Letter)</Template>
  <TotalTime>172467</TotalTime>
  <Words>267</Words>
  <Application>Microsoft Office PowerPoint</Application>
  <PresentationFormat>Letter Paper (8.5x11 in)</PresentationFormat>
  <Paragraphs>77</Paragraphs>
  <Slides>1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3" baseType="lpstr">
      <vt:lpstr>ICG_Pres(Letter)</vt:lpstr>
      <vt:lpstr>1_ICG_Pres(Letter)</vt:lpstr>
      <vt:lpstr>Citi ICG PPT Template (letter)</vt:lpstr>
      <vt:lpstr>2_ICG_Pres(Letter)</vt:lpstr>
      <vt:lpstr>3_ICG_Pres(Letter)</vt:lpstr>
      <vt:lpstr>4_ICG_Pres(Letter)</vt:lpstr>
      <vt:lpstr>5_ICG_Pres(Letter)</vt:lpstr>
      <vt:lpstr>6_ICG_Pres(Letter)</vt:lpstr>
      <vt:lpstr>7_ICG_Pres(Letter)</vt:lpstr>
      <vt:lpstr>8_ICG_Pres(Letter)</vt:lpstr>
      <vt:lpstr>10_ICG_Pres(Letter)</vt:lpstr>
      <vt:lpstr>think-cell Slide</vt:lpstr>
      <vt:lpstr>PowerPoint Presentation</vt:lpstr>
      <vt:lpstr>User Journey</vt:lpstr>
      <vt:lpstr>Pain and Gain map</vt:lpstr>
      <vt:lpstr>Story board- Search and Apply Task </vt:lpstr>
      <vt:lpstr>Story board – Create Task</vt:lpstr>
      <vt:lpstr>Story board – Search and contact contributors</vt:lpstr>
      <vt:lpstr>Login Page</vt:lpstr>
      <vt:lpstr>Search Contributor</vt:lpstr>
      <vt:lpstr>Create Task</vt:lpstr>
      <vt:lpstr>Browse Task</vt:lpstr>
      <vt:lpstr>Profile</vt:lpstr>
    </vt:vector>
  </TitlesOfParts>
  <Company>CIT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DC09721</dc:creator>
  <cp:lastModifiedBy>HP</cp:lastModifiedBy>
  <cp:revision>2527</cp:revision>
  <cp:lastPrinted>2017-11-07T18:36:46Z</cp:lastPrinted>
  <dcterms:created xsi:type="dcterms:W3CDTF">2012-08-29T14:18:37Z</dcterms:created>
  <dcterms:modified xsi:type="dcterms:W3CDTF">2020-06-07T12:56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OCOpt">
    <vt:lpwstr>1</vt:lpwstr>
  </property>
  <property fmtid="{D5CDD505-2E9C-101B-9397-08002B2CF9AE}" pid="3" name="Regions">
    <vt:lpwstr>1;#EMEA;#2;#Asia Pacific;#3;#Japan;#4;#North America;#5;#Latin America</vt:lpwstr>
  </property>
  <property fmtid="{D5CDD505-2E9C-101B-9397-08002B2CF9AE}" pid="4" name="TaxonomyHierarchical">
    <vt:lpwstr/>
  </property>
  <property fmtid="{D5CDD505-2E9C-101B-9397-08002B2CF9AE}" pid="5" name="ContentType">
    <vt:lpwstr>GBIP Global Document Content Type</vt:lpwstr>
  </property>
  <property fmtid="{D5CDD505-2E9C-101B-9397-08002B2CF9AE}" pid="6" name="PNSOpt">
    <vt:lpwstr>1s</vt:lpwstr>
  </property>
  <property fmtid="{D5CDD505-2E9C-101B-9397-08002B2CF9AE}" pid="7" name="Pitchbook Compatible">
    <vt:lpwstr>Yes</vt:lpwstr>
  </property>
</Properties>
</file>